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autoCompressPictures="0">
  <p:sldMasterIdLst>
    <p:sldMasterId id="2147483705" r:id="rId4"/>
  </p:sldMasterIdLst>
  <p:notesMasterIdLst>
    <p:notesMasterId r:id="rId17"/>
  </p:notesMasterIdLst>
  <p:handoutMasterIdLst>
    <p:handoutMasterId r:id="rId18"/>
  </p:handoutMasterIdLst>
  <p:sldIdLst>
    <p:sldId id="2147471217" r:id="rId5"/>
    <p:sldId id="2147471320" r:id="rId6"/>
    <p:sldId id="2147471358" r:id="rId7"/>
    <p:sldId id="2147471326" r:id="rId8"/>
    <p:sldId id="2147471356" r:id="rId9"/>
    <p:sldId id="2147471357" r:id="rId10"/>
    <p:sldId id="2147471327" r:id="rId11"/>
    <p:sldId id="2147471355" r:id="rId12"/>
    <p:sldId id="262" r:id="rId13"/>
    <p:sldId id="2147471360" r:id="rId14"/>
    <p:sldId id="2147471359" r:id="rId15"/>
    <p:sldId id="2147471343" r:id="rId16"/>
  </p:sldIdLst>
  <p:sldSz cx="9144000" cy="5143500" type="screen16x9"/>
  <p:notesSz cx="6858000" cy="9144000"/>
  <p:custDataLst>
    <p:tags r:id="rId1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D40DD2F6-96D5-A840-A8E7-830E3FE7127C}">
          <p14:sldIdLst>
            <p14:sldId id="2147471217"/>
            <p14:sldId id="2147471320"/>
            <p14:sldId id="2147471358"/>
            <p14:sldId id="2147471326"/>
            <p14:sldId id="2147471356"/>
            <p14:sldId id="2147471357"/>
            <p14:sldId id="2147471327"/>
            <p14:sldId id="2147471355"/>
            <p14:sldId id="262"/>
            <p14:sldId id="2147471360"/>
            <p14:sldId id="2147471359"/>
            <p14:sldId id="214747134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576">
          <p15:clr>
            <a:srgbClr val="9AA0A6"/>
          </p15:clr>
        </p15:guide>
        <p15:guide id="2" orient="horz" pos="1783">
          <p15:clr>
            <a:srgbClr val="9AA0A6"/>
          </p15:clr>
        </p15:guide>
        <p15:guide id="3" orient="horz" pos="2270">
          <p15:clr>
            <a:srgbClr val="9AA0A6"/>
          </p15:clr>
        </p15:guide>
        <p15:guide id="4" orient="horz" pos="1731">
          <p15:clr>
            <a:srgbClr val="9AA0A6"/>
          </p15:clr>
        </p15:guide>
        <p15:guide id="5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03AFF"/>
    <a:srgbClr val="503BBB"/>
    <a:srgbClr val="453960"/>
    <a:srgbClr val="0F0157"/>
    <a:srgbClr val="0F0258"/>
    <a:srgbClr val="412DA1"/>
    <a:srgbClr val="9977DC"/>
    <a:srgbClr val="4D3C70"/>
    <a:srgbClr val="544675"/>
    <a:srgbClr val="2E1F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7BA4851-E59F-A64B-A286-D4CDD140E369}" v="219" dt="2023-04-13T09:49:38.393"/>
  </p1510:revLst>
</p1510:revInfo>
</file>

<file path=ppt/tableStyles.xml><?xml version="1.0" encoding="utf-8"?>
<a:tblStyleLst xmlns:a="http://schemas.openxmlformats.org/drawingml/2006/main" def="{1A2A305C-D55A-467C-B0D5-C5178314B10F}">
  <a:tblStyle styleId="{1A2A305C-D55A-467C-B0D5-C5178314B10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9729EC7C-02F9-479F-8B7C-CC5DB8617351}" styleName="Table_1">
    <a:wholeTbl>
      <a:tcTxStyle b="off" i="off">
        <a:font>
          <a:latin typeface="CiscoSansTT ExtraLight"/>
          <a:ea typeface="CiscoSansTT ExtraLight"/>
          <a:cs typeface="CiscoSansTT ExtraLight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440"/>
    <p:restoredTop sz="96304"/>
  </p:normalViewPr>
  <p:slideViewPr>
    <p:cSldViewPr snapToGrid="0">
      <p:cViewPr varScale="1">
        <p:scale>
          <a:sx n="197" d="100"/>
          <a:sy n="197" d="100"/>
        </p:scale>
        <p:origin x="200" y="376"/>
      </p:cViewPr>
      <p:guideLst>
        <p:guide orient="horz" pos="576"/>
        <p:guide orient="horz" pos="1783"/>
        <p:guide orient="horz" pos="2270"/>
        <p:guide orient="horz" pos="1731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97" d="100"/>
          <a:sy n="97" d="100"/>
        </p:scale>
        <p:origin x="3120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trice Nivaggioli (pnivaggi)" userId="67e5b0e0-fc7f-4496-a07e-e7b17e1cb63b" providerId="ADAL" clId="{EC233A50-D0FB-7D45-8B5B-36E97234FAAE}"/>
    <pc:docChg chg="undo custSel addSld delSld modSld sldOrd modSection">
      <pc:chgData name="Patrice Nivaggioli (pnivaggi)" userId="67e5b0e0-fc7f-4496-a07e-e7b17e1cb63b" providerId="ADAL" clId="{EC233A50-D0FB-7D45-8B5B-36E97234FAAE}" dt="2023-02-17T16:47:35.916" v="1841" actId="20577"/>
      <pc:docMkLst>
        <pc:docMk/>
      </pc:docMkLst>
      <pc:sldChg chg="delSp modSp mod">
        <pc:chgData name="Patrice Nivaggioli (pnivaggi)" userId="67e5b0e0-fc7f-4496-a07e-e7b17e1cb63b" providerId="ADAL" clId="{EC233A50-D0FB-7D45-8B5B-36E97234FAAE}" dt="2023-01-28T09:44:14.410" v="223" actId="20577"/>
        <pc:sldMkLst>
          <pc:docMk/>
          <pc:sldMk cId="2949187000" sldId="262"/>
        </pc:sldMkLst>
        <pc:spChg chg="mod">
          <ac:chgData name="Patrice Nivaggioli (pnivaggi)" userId="67e5b0e0-fc7f-4496-a07e-e7b17e1cb63b" providerId="ADAL" clId="{EC233A50-D0FB-7D45-8B5B-36E97234FAAE}" dt="2023-01-28T09:44:14.410" v="223" actId="20577"/>
          <ac:spMkLst>
            <pc:docMk/>
            <pc:sldMk cId="2949187000" sldId="262"/>
            <ac:spMk id="3" creationId="{72FFA465-FBF3-0C4D-9D26-9A518A8C371B}"/>
          </ac:spMkLst>
        </pc:spChg>
        <pc:spChg chg="mod">
          <ac:chgData name="Patrice Nivaggioli (pnivaggi)" userId="67e5b0e0-fc7f-4496-a07e-e7b17e1cb63b" providerId="ADAL" clId="{EC233A50-D0FB-7D45-8B5B-36E97234FAAE}" dt="2023-01-28T09:43:49.246" v="222" actId="1076"/>
          <ac:spMkLst>
            <pc:docMk/>
            <pc:sldMk cId="2949187000" sldId="262"/>
            <ac:spMk id="6" creationId="{1C7596C6-8849-404D-B33C-AA7531C7B36E}"/>
          </ac:spMkLst>
        </pc:spChg>
        <pc:spChg chg="mod">
          <ac:chgData name="Patrice Nivaggioli (pnivaggi)" userId="67e5b0e0-fc7f-4496-a07e-e7b17e1cb63b" providerId="ADAL" clId="{EC233A50-D0FB-7D45-8B5B-36E97234FAAE}" dt="2023-01-28T09:43:35.513" v="221" actId="404"/>
          <ac:spMkLst>
            <pc:docMk/>
            <pc:sldMk cId="2949187000" sldId="262"/>
            <ac:spMk id="9" creationId="{25E8CE9F-D6F5-DE45-B039-5A551103DF36}"/>
          </ac:spMkLst>
        </pc:spChg>
        <pc:picChg chg="del">
          <ac:chgData name="Patrice Nivaggioli (pnivaggi)" userId="67e5b0e0-fc7f-4496-a07e-e7b17e1cb63b" providerId="ADAL" clId="{EC233A50-D0FB-7D45-8B5B-36E97234FAAE}" dt="2023-01-28T09:42:59.082" v="219" actId="478"/>
          <ac:picMkLst>
            <pc:docMk/>
            <pc:sldMk cId="2949187000" sldId="262"/>
            <ac:picMk id="12" creationId="{7B548E0D-BE48-D548-9F9B-0A60D05AE28D}"/>
          </ac:picMkLst>
        </pc:picChg>
      </pc:sldChg>
      <pc:sldChg chg="delSp modSp mod modClrScheme chgLayout">
        <pc:chgData name="Patrice Nivaggioli (pnivaggi)" userId="67e5b0e0-fc7f-4496-a07e-e7b17e1cb63b" providerId="ADAL" clId="{EC233A50-D0FB-7D45-8B5B-36E97234FAAE}" dt="2023-02-16T08:04:03.267" v="226" actId="700"/>
        <pc:sldMkLst>
          <pc:docMk/>
          <pc:sldMk cId="4282305081" sldId="263"/>
        </pc:sldMkLst>
        <pc:spChg chg="mod ord">
          <ac:chgData name="Patrice Nivaggioli (pnivaggi)" userId="67e5b0e0-fc7f-4496-a07e-e7b17e1cb63b" providerId="ADAL" clId="{EC233A50-D0FB-7D45-8B5B-36E97234FAAE}" dt="2023-02-16T08:04:03.267" v="226" actId="700"/>
          <ac:spMkLst>
            <pc:docMk/>
            <pc:sldMk cId="4282305081" sldId="263"/>
            <ac:spMk id="2" creationId="{2FF8AA61-07CC-9646-B39A-0823DD48DED8}"/>
          </ac:spMkLst>
        </pc:spChg>
        <pc:spChg chg="mod ord">
          <ac:chgData name="Patrice Nivaggioli (pnivaggi)" userId="67e5b0e0-fc7f-4496-a07e-e7b17e1cb63b" providerId="ADAL" clId="{EC233A50-D0FB-7D45-8B5B-36E97234FAAE}" dt="2023-02-16T08:04:03.267" v="226" actId="700"/>
          <ac:spMkLst>
            <pc:docMk/>
            <pc:sldMk cId="4282305081" sldId="263"/>
            <ac:spMk id="3" creationId="{72FFA465-FBF3-0C4D-9D26-9A518A8C371B}"/>
          </ac:spMkLst>
        </pc:spChg>
        <pc:spChg chg="mod ord">
          <ac:chgData name="Patrice Nivaggioli (pnivaggi)" userId="67e5b0e0-fc7f-4496-a07e-e7b17e1cb63b" providerId="ADAL" clId="{EC233A50-D0FB-7D45-8B5B-36E97234FAAE}" dt="2023-02-16T08:04:03.267" v="226" actId="700"/>
          <ac:spMkLst>
            <pc:docMk/>
            <pc:sldMk cId="4282305081" sldId="263"/>
            <ac:spMk id="4" creationId="{B5A6324C-01FE-554B-B6CE-B32BCB6A5F53}"/>
          </ac:spMkLst>
        </pc:spChg>
        <pc:spChg chg="mod">
          <ac:chgData name="Patrice Nivaggioli (pnivaggi)" userId="67e5b0e0-fc7f-4496-a07e-e7b17e1cb63b" providerId="ADAL" clId="{EC233A50-D0FB-7D45-8B5B-36E97234FAAE}" dt="2023-01-28T09:39:46.963" v="181" actId="1076"/>
          <ac:spMkLst>
            <pc:docMk/>
            <pc:sldMk cId="4282305081" sldId="263"/>
            <ac:spMk id="6" creationId="{1C7596C6-8849-404D-B33C-AA7531C7B36E}"/>
          </ac:spMkLst>
        </pc:spChg>
        <pc:spChg chg="mod">
          <ac:chgData name="Patrice Nivaggioli (pnivaggi)" userId="67e5b0e0-fc7f-4496-a07e-e7b17e1cb63b" providerId="ADAL" clId="{EC233A50-D0FB-7D45-8B5B-36E97234FAAE}" dt="2023-01-28T09:39:54.208" v="190" actId="1036"/>
          <ac:spMkLst>
            <pc:docMk/>
            <pc:sldMk cId="4282305081" sldId="263"/>
            <ac:spMk id="9" creationId="{25E8CE9F-D6F5-DE45-B039-5A551103DF36}"/>
          </ac:spMkLst>
        </pc:spChg>
        <pc:picChg chg="del">
          <ac:chgData name="Patrice Nivaggioli (pnivaggi)" userId="67e5b0e0-fc7f-4496-a07e-e7b17e1cb63b" providerId="ADAL" clId="{EC233A50-D0FB-7D45-8B5B-36E97234FAAE}" dt="2023-01-28T09:39:20.374" v="178" actId="478"/>
          <ac:picMkLst>
            <pc:docMk/>
            <pc:sldMk cId="4282305081" sldId="263"/>
            <ac:picMk id="8" creationId="{6CDC7085-38AC-874F-BAC7-813D9B68FF57}"/>
          </ac:picMkLst>
        </pc:picChg>
      </pc:sldChg>
      <pc:sldChg chg="modSp mod">
        <pc:chgData name="Patrice Nivaggioli (pnivaggi)" userId="67e5b0e0-fc7f-4496-a07e-e7b17e1cb63b" providerId="ADAL" clId="{EC233A50-D0FB-7D45-8B5B-36E97234FAAE}" dt="2023-02-16T08:18:28.787" v="300" actId="20577"/>
        <pc:sldMkLst>
          <pc:docMk/>
          <pc:sldMk cId="1463317190" sldId="2147471217"/>
        </pc:sldMkLst>
        <pc:spChg chg="mod">
          <ac:chgData name="Patrice Nivaggioli (pnivaggi)" userId="67e5b0e0-fc7f-4496-a07e-e7b17e1cb63b" providerId="ADAL" clId="{EC233A50-D0FB-7D45-8B5B-36E97234FAAE}" dt="2023-02-16T08:18:28.787" v="300" actId="20577"/>
          <ac:spMkLst>
            <pc:docMk/>
            <pc:sldMk cId="1463317190" sldId="2147471217"/>
            <ac:spMk id="368" creationId="{00000000-0000-0000-0000-000000000000}"/>
          </ac:spMkLst>
        </pc:spChg>
      </pc:sldChg>
      <pc:sldChg chg="addSp delSp modSp mod">
        <pc:chgData name="Patrice Nivaggioli (pnivaggi)" userId="67e5b0e0-fc7f-4496-a07e-e7b17e1cb63b" providerId="ADAL" clId="{EC233A50-D0FB-7D45-8B5B-36E97234FAAE}" dt="2023-01-28T09:34:56.591" v="110" actId="478"/>
        <pc:sldMkLst>
          <pc:docMk/>
          <pc:sldMk cId="3804278165" sldId="2147471326"/>
        </pc:sldMkLst>
        <pc:spChg chg="mod">
          <ac:chgData name="Patrice Nivaggioli (pnivaggi)" userId="67e5b0e0-fc7f-4496-a07e-e7b17e1cb63b" providerId="ADAL" clId="{EC233A50-D0FB-7D45-8B5B-36E97234FAAE}" dt="2023-01-28T09:32:55.686" v="98" actId="122"/>
          <ac:spMkLst>
            <pc:docMk/>
            <pc:sldMk cId="3804278165" sldId="2147471326"/>
            <ac:spMk id="2" creationId="{F2DDDCCA-A7FF-46D6-92BF-47E1CF7FDD10}"/>
          </ac:spMkLst>
        </pc:spChg>
        <pc:spChg chg="del">
          <ac:chgData name="Patrice Nivaggioli (pnivaggi)" userId="67e5b0e0-fc7f-4496-a07e-e7b17e1cb63b" providerId="ADAL" clId="{EC233A50-D0FB-7D45-8B5B-36E97234FAAE}" dt="2023-01-28T09:34:56.591" v="110" actId="478"/>
          <ac:spMkLst>
            <pc:docMk/>
            <pc:sldMk cId="3804278165" sldId="2147471326"/>
            <ac:spMk id="4" creationId="{1E5E270E-9837-4229-B063-853D46410EC7}"/>
          </ac:spMkLst>
        </pc:spChg>
        <pc:spChg chg="add mod">
          <ac:chgData name="Patrice Nivaggioli (pnivaggi)" userId="67e5b0e0-fc7f-4496-a07e-e7b17e1cb63b" providerId="ADAL" clId="{EC233A50-D0FB-7D45-8B5B-36E97234FAAE}" dt="2023-01-28T09:33:26.522" v="100" actId="1076"/>
          <ac:spMkLst>
            <pc:docMk/>
            <pc:sldMk cId="3804278165" sldId="2147471326"/>
            <ac:spMk id="7" creationId="{0C30B07F-12A3-B069-8F23-C81D7F49CD93}"/>
          </ac:spMkLst>
        </pc:spChg>
        <pc:spChg chg="add mod">
          <ac:chgData name="Patrice Nivaggioli (pnivaggi)" userId="67e5b0e0-fc7f-4496-a07e-e7b17e1cb63b" providerId="ADAL" clId="{EC233A50-D0FB-7D45-8B5B-36E97234FAAE}" dt="2023-01-28T09:33:36.137" v="102" actId="1076"/>
          <ac:spMkLst>
            <pc:docMk/>
            <pc:sldMk cId="3804278165" sldId="2147471326"/>
            <ac:spMk id="8" creationId="{1049B492-C83C-7BB5-05A7-B8778EE48CF5}"/>
          </ac:spMkLst>
        </pc:spChg>
        <pc:spChg chg="add mod">
          <ac:chgData name="Patrice Nivaggioli (pnivaggi)" userId="67e5b0e0-fc7f-4496-a07e-e7b17e1cb63b" providerId="ADAL" clId="{EC233A50-D0FB-7D45-8B5B-36E97234FAAE}" dt="2023-01-28T09:33:43.272" v="104" actId="1076"/>
          <ac:spMkLst>
            <pc:docMk/>
            <pc:sldMk cId="3804278165" sldId="2147471326"/>
            <ac:spMk id="9" creationId="{FA50F2EC-EDB9-C4E1-B93B-EF74FB71059C}"/>
          </ac:spMkLst>
        </pc:spChg>
        <pc:spChg chg="add mod">
          <ac:chgData name="Patrice Nivaggioli (pnivaggi)" userId="67e5b0e0-fc7f-4496-a07e-e7b17e1cb63b" providerId="ADAL" clId="{EC233A50-D0FB-7D45-8B5B-36E97234FAAE}" dt="2023-01-28T09:33:49.478" v="106" actId="1076"/>
          <ac:spMkLst>
            <pc:docMk/>
            <pc:sldMk cId="3804278165" sldId="2147471326"/>
            <ac:spMk id="10" creationId="{90B6F443-46AD-E312-7737-B054F84EDA57}"/>
          </ac:spMkLst>
        </pc:spChg>
        <pc:spChg chg="add mod">
          <ac:chgData name="Patrice Nivaggioli (pnivaggi)" userId="67e5b0e0-fc7f-4496-a07e-e7b17e1cb63b" providerId="ADAL" clId="{EC233A50-D0FB-7D45-8B5B-36E97234FAAE}" dt="2023-01-28T09:33:57.918" v="108" actId="1076"/>
          <ac:spMkLst>
            <pc:docMk/>
            <pc:sldMk cId="3804278165" sldId="2147471326"/>
            <ac:spMk id="11" creationId="{517EAE1C-4ED4-0DE3-0F3C-E6F2A84E6329}"/>
          </ac:spMkLst>
        </pc:spChg>
      </pc:sldChg>
      <pc:sldChg chg="delSp modSp mod">
        <pc:chgData name="Patrice Nivaggioli (pnivaggi)" userId="67e5b0e0-fc7f-4496-a07e-e7b17e1cb63b" providerId="ADAL" clId="{EC233A50-D0FB-7D45-8B5B-36E97234FAAE}" dt="2023-01-28T09:42:43.416" v="218" actId="20577"/>
        <pc:sldMkLst>
          <pc:docMk/>
          <pc:sldMk cId="2531793733" sldId="2147471327"/>
        </pc:sldMkLst>
        <pc:spChg chg="mod">
          <ac:chgData name="Patrice Nivaggioli (pnivaggi)" userId="67e5b0e0-fc7f-4496-a07e-e7b17e1cb63b" providerId="ADAL" clId="{EC233A50-D0FB-7D45-8B5B-36E97234FAAE}" dt="2023-01-28T09:42:43.416" v="218" actId="20577"/>
          <ac:spMkLst>
            <pc:docMk/>
            <pc:sldMk cId="2531793733" sldId="2147471327"/>
            <ac:spMk id="2" creationId="{4E1F4E0B-5EFE-A5FC-6C30-B4974BA9FE6B}"/>
          </ac:spMkLst>
        </pc:spChg>
        <pc:spChg chg="del">
          <ac:chgData name="Patrice Nivaggioli (pnivaggi)" userId="67e5b0e0-fc7f-4496-a07e-e7b17e1cb63b" providerId="ADAL" clId="{EC233A50-D0FB-7D45-8B5B-36E97234FAAE}" dt="2023-01-28T09:41:37.157" v="208" actId="478"/>
          <ac:spMkLst>
            <pc:docMk/>
            <pc:sldMk cId="2531793733" sldId="2147471327"/>
            <ac:spMk id="4" creationId="{1E5E270E-9837-4229-B063-853D46410EC7}"/>
          </ac:spMkLst>
        </pc:spChg>
      </pc:sldChg>
      <pc:sldChg chg="del">
        <pc:chgData name="Patrice Nivaggioli (pnivaggi)" userId="67e5b0e0-fc7f-4496-a07e-e7b17e1cb63b" providerId="ADAL" clId="{EC233A50-D0FB-7D45-8B5B-36E97234FAAE}" dt="2023-02-16T07:55:35.989" v="224" actId="2696"/>
        <pc:sldMkLst>
          <pc:docMk/>
          <pc:sldMk cId="158997454" sldId="2147471329"/>
        </pc:sldMkLst>
      </pc:sldChg>
      <pc:sldChg chg="modSp mod">
        <pc:chgData name="Patrice Nivaggioli (pnivaggi)" userId="67e5b0e0-fc7f-4496-a07e-e7b17e1cb63b" providerId="ADAL" clId="{EC233A50-D0FB-7D45-8B5B-36E97234FAAE}" dt="2023-01-28T09:41:05.253" v="198" actId="20577"/>
        <pc:sldMkLst>
          <pc:docMk/>
          <pc:sldMk cId="3790301994" sldId="2147471332"/>
        </pc:sldMkLst>
        <pc:spChg chg="mod">
          <ac:chgData name="Patrice Nivaggioli (pnivaggi)" userId="67e5b0e0-fc7f-4496-a07e-e7b17e1cb63b" providerId="ADAL" clId="{EC233A50-D0FB-7D45-8B5B-36E97234FAAE}" dt="2023-01-28T09:41:05.253" v="198" actId="20577"/>
          <ac:spMkLst>
            <pc:docMk/>
            <pc:sldMk cId="3790301994" sldId="2147471332"/>
            <ac:spMk id="2" creationId="{565699A4-D03C-0B92-2FC2-CBC8D2FAAE2D}"/>
          </ac:spMkLst>
        </pc:spChg>
      </pc:sldChg>
      <pc:sldChg chg="add del">
        <pc:chgData name="Patrice Nivaggioli (pnivaggi)" userId="67e5b0e0-fc7f-4496-a07e-e7b17e1cb63b" providerId="ADAL" clId="{EC233A50-D0FB-7D45-8B5B-36E97234FAAE}" dt="2023-01-28T09:35:54.722" v="111" actId="2696"/>
        <pc:sldMkLst>
          <pc:docMk/>
          <pc:sldMk cId="3380065028" sldId="2147471344"/>
        </pc:sldMkLst>
      </pc:sldChg>
      <pc:sldChg chg="addSp delSp modSp new del mod ord">
        <pc:chgData name="Patrice Nivaggioli (pnivaggi)" userId="67e5b0e0-fc7f-4496-a07e-e7b17e1cb63b" providerId="ADAL" clId="{EC233A50-D0FB-7D45-8B5B-36E97234FAAE}" dt="2023-02-17T15:02:27.604" v="1152" actId="2696"/>
        <pc:sldMkLst>
          <pc:docMk/>
          <pc:sldMk cId="3824589673" sldId="2147471351"/>
        </pc:sldMkLst>
        <pc:spChg chg="del">
          <ac:chgData name="Patrice Nivaggioli (pnivaggi)" userId="67e5b0e0-fc7f-4496-a07e-e7b17e1cb63b" providerId="ADAL" clId="{EC233A50-D0FB-7D45-8B5B-36E97234FAAE}" dt="2023-02-16T08:04:27.041" v="232" actId="478"/>
          <ac:spMkLst>
            <pc:docMk/>
            <pc:sldMk cId="3824589673" sldId="2147471351"/>
            <ac:spMk id="2" creationId="{32FB34B2-B793-3596-A513-C343611E6E79}"/>
          </ac:spMkLst>
        </pc:spChg>
        <pc:spChg chg="del">
          <ac:chgData name="Patrice Nivaggioli (pnivaggi)" userId="67e5b0e0-fc7f-4496-a07e-e7b17e1cb63b" providerId="ADAL" clId="{EC233A50-D0FB-7D45-8B5B-36E97234FAAE}" dt="2023-02-16T08:04:25.032" v="231" actId="478"/>
          <ac:spMkLst>
            <pc:docMk/>
            <pc:sldMk cId="3824589673" sldId="2147471351"/>
            <ac:spMk id="3" creationId="{5D98DD2E-D2E1-886C-66FD-0A0AB69A9E1B}"/>
          </ac:spMkLst>
        </pc:spChg>
        <pc:picChg chg="add mod">
          <ac:chgData name="Patrice Nivaggioli (pnivaggi)" userId="67e5b0e0-fc7f-4496-a07e-e7b17e1cb63b" providerId="ADAL" clId="{EC233A50-D0FB-7D45-8B5B-36E97234FAAE}" dt="2023-02-16T08:07:00.425" v="238" actId="1076"/>
          <ac:picMkLst>
            <pc:docMk/>
            <pc:sldMk cId="3824589673" sldId="2147471351"/>
            <ac:picMk id="4" creationId="{BE994EDB-4198-8C47-EBDF-5DBE09F3B355}"/>
          </ac:picMkLst>
        </pc:picChg>
      </pc:sldChg>
      <pc:sldChg chg="addSp modSp new mod">
        <pc:chgData name="Patrice Nivaggioli (pnivaggi)" userId="67e5b0e0-fc7f-4496-a07e-e7b17e1cb63b" providerId="ADAL" clId="{EC233A50-D0FB-7D45-8B5B-36E97234FAAE}" dt="2023-02-16T08:11:46.828" v="275" actId="20577"/>
        <pc:sldMkLst>
          <pc:docMk/>
          <pc:sldMk cId="391175310" sldId="2147471352"/>
        </pc:sldMkLst>
        <pc:spChg chg="mod">
          <ac:chgData name="Patrice Nivaggioli (pnivaggi)" userId="67e5b0e0-fc7f-4496-a07e-e7b17e1cb63b" providerId="ADAL" clId="{EC233A50-D0FB-7D45-8B5B-36E97234FAAE}" dt="2023-02-16T08:11:46.828" v="275" actId="20577"/>
          <ac:spMkLst>
            <pc:docMk/>
            <pc:sldMk cId="391175310" sldId="2147471352"/>
            <ac:spMk id="2" creationId="{820BAD9D-8CF9-B86B-9922-5B23D180DF87}"/>
          </ac:spMkLst>
        </pc:spChg>
        <pc:picChg chg="add mod">
          <ac:chgData name="Patrice Nivaggioli (pnivaggi)" userId="67e5b0e0-fc7f-4496-a07e-e7b17e1cb63b" providerId="ADAL" clId="{EC233A50-D0FB-7D45-8B5B-36E97234FAAE}" dt="2023-02-16T08:11:28.704" v="242" actId="1076"/>
          <ac:picMkLst>
            <pc:docMk/>
            <pc:sldMk cId="391175310" sldId="2147471352"/>
            <ac:picMk id="4" creationId="{B8C42D9B-7EAF-83A6-3EB4-5ED47600AF9B}"/>
          </ac:picMkLst>
        </pc:picChg>
      </pc:sldChg>
      <pc:sldChg chg="addSp delSp modSp new mod">
        <pc:chgData name="Patrice Nivaggioli (pnivaggi)" userId="67e5b0e0-fc7f-4496-a07e-e7b17e1cb63b" providerId="ADAL" clId="{EC233A50-D0FB-7D45-8B5B-36E97234FAAE}" dt="2023-02-16T08:17:42.078" v="285" actId="20577"/>
        <pc:sldMkLst>
          <pc:docMk/>
          <pc:sldMk cId="1718485018" sldId="2147471353"/>
        </pc:sldMkLst>
        <pc:spChg chg="mod">
          <ac:chgData name="Patrice Nivaggioli (pnivaggi)" userId="67e5b0e0-fc7f-4496-a07e-e7b17e1cb63b" providerId="ADAL" clId="{EC233A50-D0FB-7D45-8B5B-36E97234FAAE}" dt="2023-02-16T08:17:42.078" v="285" actId="20577"/>
          <ac:spMkLst>
            <pc:docMk/>
            <pc:sldMk cId="1718485018" sldId="2147471353"/>
            <ac:spMk id="2" creationId="{2E674E82-A668-0EC4-AF6B-3F7BF99300B4}"/>
          </ac:spMkLst>
        </pc:spChg>
        <pc:picChg chg="add mod">
          <ac:chgData name="Patrice Nivaggioli (pnivaggi)" userId="67e5b0e0-fc7f-4496-a07e-e7b17e1cb63b" providerId="ADAL" clId="{EC233A50-D0FB-7D45-8B5B-36E97234FAAE}" dt="2023-02-16T08:17:02.580" v="280" actId="1076"/>
          <ac:picMkLst>
            <pc:docMk/>
            <pc:sldMk cId="1718485018" sldId="2147471353"/>
            <ac:picMk id="4" creationId="{CE74129E-825D-7277-5D3E-F7CB62E702AD}"/>
          </ac:picMkLst>
        </pc:picChg>
        <pc:picChg chg="add del mod">
          <ac:chgData name="Patrice Nivaggioli (pnivaggi)" userId="67e5b0e0-fc7f-4496-a07e-e7b17e1cb63b" providerId="ADAL" clId="{EC233A50-D0FB-7D45-8B5B-36E97234FAAE}" dt="2023-02-16T08:17:30.176" v="282" actId="478"/>
          <ac:picMkLst>
            <pc:docMk/>
            <pc:sldMk cId="1718485018" sldId="2147471353"/>
            <ac:picMk id="5" creationId="{3DCB64E3-D4F5-BA67-A40E-D0CDCA22410D}"/>
          </ac:picMkLst>
        </pc:picChg>
      </pc:sldChg>
      <pc:sldChg chg="addSp delSp modSp add del mod">
        <pc:chgData name="Patrice Nivaggioli (pnivaggi)" userId="67e5b0e0-fc7f-4496-a07e-e7b17e1cb63b" providerId="ADAL" clId="{EC233A50-D0FB-7D45-8B5B-36E97234FAAE}" dt="2023-02-17T15:02:24.554" v="1151" actId="2696"/>
        <pc:sldMkLst>
          <pc:docMk/>
          <pc:sldMk cId="1282161094" sldId="2147471354"/>
        </pc:sldMkLst>
        <pc:spChg chg="add mod">
          <ac:chgData name="Patrice Nivaggioli (pnivaggi)" userId="67e5b0e0-fc7f-4496-a07e-e7b17e1cb63b" providerId="ADAL" clId="{EC233A50-D0FB-7D45-8B5B-36E97234FAAE}" dt="2023-02-17T14:21:37.852" v="308" actId="14100"/>
          <ac:spMkLst>
            <pc:docMk/>
            <pc:sldMk cId="1282161094" sldId="2147471354"/>
            <ac:spMk id="2" creationId="{EEDD8191-7D68-C001-D549-AA97A3B54606}"/>
          </ac:spMkLst>
        </pc:spChg>
        <pc:spChg chg="del">
          <ac:chgData name="Patrice Nivaggioli (pnivaggi)" userId="67e5b0e0-fc7f-4496-a07e-e7b17e1cb63b" providerId="ADAL" clId="{EC233A50-D0FB-7D45-8B5B-36E97234FAAE}" dt="2023-02-17T14:21:15.746" v="302" actId="478"/>
          <ac:spMkLst>
            <pc:docMk/>
            <pc:sldMk cId="1282161094" sldId="2147471354"/>
            <ac:spMk id="4" creationId="{BDE80AA1-FC34-704D-ABB9-898D2D98877F}"/>
          </ac:spMkLst>
        </pc:spChg>
        <pc:spChg chg="del">
          <ac:chgData name="Patrice Nivaggioli (pnivaggi)" userId="67e5b0e0-fc7f-4496-a07e-e7b17e1cb63b" providerId="ADAL" clId="{EC233A50-D0FB-7D45-8B5B-36E97234FAAE}" dt="2023-02-17T14:21:22.916" v="303" actId="478"/>
          <ac:spMkLst>
            <pc:docMk/>
            <pc:sldMk cId="1282161094" sldId="2147471354"/>
            <ac:spMk id="30" creationId="{2A3064CF-577A-BB4F-869D-E31632FBE859}"/>
          </ac:spMkLst>
        </pc:spChg>
      </pc:sldChg>
      <pc:sldChg chg="addSp delSp modSp new mod">
        <pc:chgData name="Patrice Nivaggioli (pnivaggi)" userId="67e5b0e0-fc7f-4496-a07e-e7b17e1cb63b" providerId="ADAL" clId="{EC233A50-D0FB-7D45-8B5B-36E97234FAAE}" dt="2023-02-17T16:40:20.594" v="1840" actId="1037"/>
        <pc:sldMkLst>
          <pc:docMk/>
          <pc:sldMk cId="1473680318" sldId="2147471355"/>
        </pc:sldMkLst>
        <pc:spChg chg="mod">
          <ac:chgData name="Patrice Nivaggioli (pnivaggi)" userId="67e5b0e0-fc7f-4496-a07e-e7b17e1cb63b" providerId="ADAL" clId="{EC233A50-D0FB-7D45-8B5B-36E97234FAAE}" dt="2023-02-17T14:33:48.963" v="596" actId="20577"/>
          <ac:spMkLst>
            <pc:docMk/>
            <pc:sldMk cId="1473680318" sldId="2147471355"/>
            <ac:spMk id="2" creationId="{177C333F-5D2E-5F63-2403-D228CF8B3C26}"/>
          </ac:spMkLst>
        </pc:spChg>
        <pc:spChg chg="mod">
          <ac:chgData name="Patrice Nivaggioli (pnivaggi)" userId="67e5b0e0-fc7f-4496-a07e-e7b17e1cb63b" providerId="ADAL" clId="{EC233A50-D0FB-7D45-8B5B-36E97234FAAE}" dt="2023-02-17T15:00:12.028" v="1149" actId="20577"/>
          <ac:spMkLst>
            <pc:docMk/>
            <pc:sldMk cId="1473680318" sldId="2147471355"/>
            <ac:spMk id="3" creationId="{EE9D31B2-AA65-E735-EDB6-5832C8B5E7DC}"/>
          </ac:spMkLst>
        </pc:spChg>
        <pc:spChg chg="add mod">
          <ac:chgData name="Patrice Nivaggioli (pnivaggi)" userId="67e5b0e0-fc7f-4496-a07e-e7b17e1cb63b" providerId="ADAL" clId="{EC233A50-D0FB-7D45-8B5B-36E97234FAAE}" dt="2023-02-17T14:52:23.989" v="836" actId="1076"/>
          <ac:spMkLst>
            <pc:docMk/>
            <pc:sldMk cId="1473680318" sldId="2147471355"/>
            <ac:spMk id="4" creationId="{5A9989C2-5D26-9A62-58C7-58D649FC39D3}"/>
          </ac:spMkLst>
        </pc:spChg>
        <pc:spChg chg="add mod">
          <ac:chgData name="Patrice Nivaggioli (pnivaggi)" userId="67e5b0e0-fc7f-4496-a07e-e7b17e1cb63b" providerId="ADAL" clId="{EC233A50-D0FB-7D45-8B5B-36E97234FAAE}" dt="2023-02-17T14:52:23.989" v="836" actId="1076"/>
          <ac:spMkLst>
            <pc:docMk/>
            <pc:sldMk cId="1473680318" sldId="2147471355"/>
            <ac:spMk id="5" creationId="{EA19FC52-07AE-A358-3355-DD5D2311B659}"/>
          </ac:spMkLst>
        </pc:spChg>
        <pc:spChg chg="add mod">
          <ac:chgData name="Patrice Nivaggioli (pnivaggi)" userId="67e5b0e0-fc7f-4496-a07e-e7b17e1cb63b" providerId="ADAL" clId="{EC233A50-D0FB-7D45-8B5B-36E97234FAAE}" dt="2023-02-17T14:31:42.053" v="529" actId="1076"/>
          <ac:spMkLst>
            <pc:docMk/>
            <pc:sldMk cId="1473680318" sldId="2147471355"/>
            <ac:spMk id="6" creationId="{1F8C48D8-16A9-E25C-01F8-4E2C8C7AFF59}"/>
          </ac:spMkLst>
        </pc:spChg>
        <pc:spChg chg="add del mod">
          <ac:chgData name="Patrice Nivaggioli (pnivaggi)" userId="67e5b0e0-fc7f-4496-a07e-e7b17e1cb63b" providerId="ADAL" clId="{EC233A50-D0FB-7D45-8B5B-36E97234FAAE}" dt="2023-02-17T14:28:21.013" v="444" actId="478"/>
          <ac:spMkLst>
            <pc:docMk/>
            <pc:sldMk cId="1473680318" sldId="2147471355"/>
            <ac:spMk id="7" creationId="{29FEB839-E5E3-2EF6-43DF-68FC72B417ED}"/>
          </ac:spMkLst>
        </pc:spChg>
        <pc:spChg chg="add del mod">
          <ac:chgData name="Patrice Nivaggioli (pnivaggi)" userId="67e5b0e0-fc7f-4496-a07e-e7b17e1cb63b" providerId="ADAL" clId="{EC233A50-D0FB-7D45-8B5B-36E97234FAAE}" dt="2023-02-17T14:28:21.013" v="444" actId="478"/>
          <ac:spMkLst>
            <pc:docMk/>
            <pc:sldMk cId="1473680318" sldId="2147471355"/>
            <ac:spMk id="8" creationId="{8B52625F-45C2-FC1A-5B7F-D4C93C33D4C3}"/>
          </ac:spMkLst>
        </pc:spChg>
        <pc:spChg chg="add mod">
          <ac:chgData name="Patrice Nivaggioli (pnivaggi)" userId="67e5b0e0-fc7f-4496-a07e-e7b17e1cb63b" providerId="ADAL" clId="{EC233A50-D0FB-7D45-8B5B-36E97234FAAE}" dt="2023-02-17T15:05:03.541" v="1159" actId="14100"/>
          <ac:spMkLst>
            <pc:docMk/>
            <pc:sldMk cId="1473680318" sldId="2147471355"/>
            <ac:spMk id="9" creationId="{FA428275-E218-26A2-A6BC-08217AECDE44}"/>
          </ac:spMkLst>
        </pc:spChg>
        <pc:spChg chg="add del">
          <ac:chgData name="Patrice Nivaggioli (pnivaggi)" userId="67e5b0e0-fc7f-4496-a07e-e7b17e1cb63b" providerId="ADAL" clId="{EC233A50-D0FB-7D45-8B5B-36E97234FAAE}" dt="2023-02-17T14:26:09.754" v="361" actId="478"/>
          <ac:spMkLst>
            <pc:docMk/>
            <pc:sldMk cId="1473680318" sldId="2147471355"/>
            <ac:spMk id="11" creationId="{8F06E225-330A-36E2-4C4B-8DCA76A0EC11}"/>
          </ac:spMkLst>
        </pc:spChg>
        <pc:spChg chg="add del mod">
          <ac:chgData name="Patrice Nivaggioli (pnivaggi)" userId="67e5b0e0-fc7f-4496-a07e-e7b17e1cb63b" providerId="ADAL" clId="{EC233A50-D0FB-7D45-8B5B-36E97234FAAE}" dt="2023-02-17T14:28:09.599" v="442" actId="478"/>
          <ac:spMkLst>
            <pc:docMk/>
            <pc:sldMk cId="1473680318" sldId="2147471355"/>
            <ac:spMk id="12" creationId="{57F5AB86-735E-3B3E-55DB-CE73D3325C60}"/>
          </ac:spMkLst>
        </pc:spChg>
        <pc:spChg chg="add mod">
          <ac:chgData name="Patrice Nivaggioli (pnivaggi)" userId="67e5b0e0-fc7f-4496-a07e-e7b17e1cb63b" providerId="ADAL" clId="{EC233A50-D0FB-7D45-8B5B-36E97234FAAE}" dt="2023-02-17T14:31:42.053" v="529" actId="1076"/>
          <ac:spMkLst>
            <pc:docMk/>
            <pc:sldMk cId="1473680318" sldId="2147471355"/>
            <ac:spMk id="14" creationId="{AF6E9E64-C631-4827-B226-F9D6D51D7A42}"/>
          </ac:spMkLst>
        </pc:spChg>
        <pc:spChg chg="mod">
          <ac:chgData name="Patrice Nivaggioli (pnivaggi)" userId="67e5b0e0-fc7f-4496-a07e-e7b17e1cb63b" providerId="ADAL" clId="{EC233A50-D0FB-7D45-8B5B-36E97234FAAE}" dt="2023-02-17T14:31:42.053" v="529" actId="1076"/>
          <ac:spMkLst>
            <pc:docMk/>
            <pc:sldMk cId="1473680318" sldId="2147471355"/>
            <ac:spMk id="19" creationId="{4DBFB388-7A30-4D9E-4ED0-5A00E037CFC4}"/>
          </ac:spMkLst>
        </pc:spChg>
        <pc:spChg chg="mod">
          <ac:chgData name="Patrice Nivaggioli (pnivaggi)" userId="67e5b0e0-fc7f-4496-a07e-e7b17e1cb63b" providerId="ADAL" clId="{EC233A50-D0FB-7D45-8B5B-36E97234FAAE}" dt="2023-02-17T14:31:42.053" v="529" actId="1076"/>
          <ac:spMkLst>
            <pc:docMk/>
            <pc:sldMk cId="1473680318" sldId="2147471355"/>
            <ac:spMk id="21" creationId="{9D4105A4-A3BF-6CBD-C12E-A2491CDE7F3D}"/>
          </ac:spMkLst>
        </pc:spChg>
        <pc:spChg chg="mod topLvl">
          <ac:chgData name="Patrice Nivaggioli (pnivaggi)" userId="67e5b0e0-fc7f-4496-a07e-e7b17e1cb63b" providerId="ADAL" clId="{EC233A50-D0FB-7D45-8B5B-36E97234FAAE}" dt="2023-02-17T14:57:36.421" v="1068" actId="14100"/>
          <ac:spMkLst>
            <pc:docMk/>
            <pc:sldMk cId="1473680318" sldId="2147471355"/>
            <ac:spMk id="25" creationId="{4CDFC584-1051-C055-D662-144AC4228506}"/>
          </ac:spMkLst>
        </pc:spChg>
        <pc:spChg chg="mod topLvl">
          <ac:chgData name="Patrice Nivaggioli (pnivaggi)" userId="67e5b0e0-fc7f-4496-a07e-e7b17e1cb63b" providerId="ADAL" clId="{EC233A50-D0FB-7D45-8B5B-36E97234FAAE}" dt="2023-02-17T14:57:09.497" v="1031" actId="1035"/>
          <ac:spMkLst>
            <pc:docMk/>
            <pc:sldMk cId="1473680318" sldId="2147471355"/>
            <ac:spMk id="27" creationId="{027A29B9-C6D4-B487-46BF-4DCCBF60A919}"/>
          </ac:spMkLst>
        </pc:spChg>
        <pc:spChg chg="add mod">
          <ac:chgData name="Patrice Nivaggioli (pnivaggi)" userId="67e5b0e0-fc7f-4496-a07e-e7b17e1cb63b" providerId="ADAL" clId="{EC233A50-D0FB-7D45-8B5B-36E97234FAAE}" dt="2023-02-17T15:04:56.687" v="1157" actId="478"/>
          <ac:spMkLst>
            <pc:docMk/>
            <pc:sldMk cId="1473680318" sldId="2147471355"/>
            <ac:spMk id="31" creationId="{E14BECCF-F451-99EF-89AF-7D015DE6AF73}"/>
          </ac:spMkLst>
        </pc:spChg>
        <pc:spChg chg="add mod">
          <ac:chgData name="Patrice Nivaggioli (pnivaggi)" userId="67e5b0e0-fc7f-4496-a07e-e7b17e1cb63b" providerId="ADAL" clId="{EC233A50-D0FB-7D45-8B5B-36E97234FAAE}" dt="2023-02-17T15:04:56.687" v="1157" actId="478"/>
          <ac:spMkLst>
            <pc:docMk/>
            <pc:sldMk cId="1473680318" sldId="2147471355"/>
            <ac:spMk id="33" creationId="{9C2730CE-37C3-B4BA-772B-66C5EDA37FFF}"/>
          </ac:spMkLst>
        </pc:spChg>
        <pc:spChg chg="add del mod">
          <ac:chgData name="Patrice Nivaggioli (pnivaggi)" userId="67e5b0e0-fc7f-4496-a07e-e7b17e1cb63b" providerId="ADAL" clId="{EC233A50-D0FB-7D45-8B5B-36E97234FAAE}" dt="2023-02-17T15:04:50.669" v="1155" actId="478"/>
          <ac:spMkLst>
            <pc:docMk/>
            <pc:sldMk cId="1473680318" sldId="2147471355"/>
            <ac:spMk id="35" creationId="{D7CD50F9-B099-9828-89AF-59E1780A78BB}"/>
          </ac:spMkLst>
        </pc:spChg>
        <pc:spChg chg="add del mod">
          <ac:chgData name="Patrice Nivaggioli (pnivaggi)" userId="67e5b0e0-fc7f-4496-a07e-e7b17e1cb63b" providerId="ADAL" clId="{EC233A50-D0FB-7D45-8B5B-36E97234FAAE}" dt="2023-02-17T15:04:59.841" v="1158" actId="478"/>
          <ac:spMkLst>
            <pc:docMk/>
            <pc:sldMk cId="1473680318" sldId="2147471355"/>
            <ac:spMk id="37" creationId="{9F7A5B02-A480-AF7F-CA36-1C9B4952D20D}"/>
          </ac:spMkLst>
        </pc:spChg>
        <pc:spChg chg="add mod">
          <ac:chgData name="Patrice Nivaggioli (pnivaggi)" userId="67e5b0e0-fc7f-4496-a07e-e7b17e1cb63b" providerId="ADAL" clId="{EC233A50-D0FB-7D45-8B5B-36E97234FAAE}" dt="2023-02-17T15:04:56.687" v="1157" actId="478"/>
          <ac:spMkLst>
            <pc:docMk/>
            <pc:sldMk cId="1473680318" sldId="2147471355"/>
            <ac:spMk id="39" creationId="{C32914F8-D76B-DA7D-A240-FF7E21D7F931}"/>
          </ac:spMkLst>
        </pc:spChg>
        <pc:spChg chg="add mod">
          <ac:chgData name="Patrice Nivaggioli (pnivaggi)" userId="67e5b0e0-fc7f-4496-a07e-e7b17e1cb63b" providerId="ADAL" clId="{EC233A50-D0FB-7D45-8B5B-36E97234FAAE}" dt="2023-02-17T14:52:23.989" v="836" actId="1076"/>
          <ac:spMkLst>
            <pc:docMk/>
            <pc:sldMk cId="1473680318" sldId="2147471355"/>
            <ac:spMk id="45" creationId="{68CCBDC0-8B3C-8415-781E-08931C44982A}"/>
          </ac:spMkLst>
        </pc:spChg>
        <pc:spChg chg="add mod">
          <ac:chgData name="Patrice Nivaggioli (pnivaggi)" userId="67e5b0e0-fc7f-4496-a07e-e7b17e1cb63b" providerId="ADAL" clId="{EC233A50-D0FB-7D45-8B5B-36E97234FAAE}" dt="2023-02-17T14:52:23.989" v="836" actId="1076"/>
          <ac:spMkLst>
            <pc:docMk/>
            <pc:sldMk cId="1473680318" sldId="2147471355"/>
            <ac:spMk id="46" creationId="{55809E87-D157-6088-3DEB-EC58FE70617A}"/>
          </ac:spMkLst>
        </pc:spChg>
        <pc:spChg chg="mod">
          <ac:chgData name="Patrice Nivaggioli (pnivaggi)" userId="67e5b0e0-fc7f-4496-a07e-e7b17e1cb63b" providerId="ADAL" clId="{EC233A50-D0FB-7D45-8B5B-36E97234FAAE}" dt="2023-02-17T14:52:23.989" v="836" actId="1076"/>
          <ac:spMkLst>
            <pc:docMk/>
            <pc:sldMk cId="1473680318" sldId="2147471355"/>
            <ac:spMk id="48" creationId="{474DF3B2-DB78-132C-ECB3-CBE11AC7AD46}"/>
          </ac:spMkLst>
        </pc:spChg>
        <pc:spChg chg="mod">
          <ac:chgData name="Patrice Nivaggioli (pnivaggi)" userId="67e5b0e0-fc7f-4496-a07e-e7b17e1cb63b" providerId="ADAL" clId="{EC233A50-D0FB-7D45-8B5B-36E97234FAAE}" dt="2023-02-17T14:52:23.989" v="836" actId="1076"/>
          <ac:spMkLst>
            <pc:docMk/>
            <pc:sldMk cId="1473680318" sldId="2147471355"/>
            <ac:spMk id="50" creationId="{B2DCA681-87BA-9E80-0935-62A3B7636368}"/>
          </ac:spMkLst>
        </pc:spChg>
        <pc:spChg chg="add del mod">
          <ac:chgData name="Patrice Nivaggioli (pnivaggi)" userId="67e5b0e0-fc7f-4496-a07e-e7b17e1cb63b" providerId="ADAL" clId="{EC233A50-D0FB-7D45-8B5B-36E97234FAAE}" dt="2023-02-17T14:38:15.744" v="741" actId="478"/>
          <ac:spMkLst>
            <pc:docMk/>
            <pc:sldMk cId="1473680318" sldId="2147471355"/>
            <ac:spMk id="53" creationId="{50EAE1C0-B19C-639C-E49C-7FF1AB35BBC8}"/>
          </ac:spMkLst>
        </pc:spChg>
        <pc:spChg chg="add mod">
          <ac:chgData name="Patrice Nivaggioli (pnivaggi)" userId="67e5b0e0-fc7f-4496-a07e-e7b17e1cb63b" providerId="ADAL" clId="{EC233A50-D0FB-7D45-8B5B-36E97234FAAE}" dt="2023-02-17T14:52:23.989" v="836" actId="1076"/>
          <ac:spMkLst>
            <pc:docMk/>
            <pc:sldMk cId="1473680318" sldId="2147471355"/>
            <ac:spMk id="57" creationId="{610D8B86-4914-1B5D-C3DD-91ED890ED4EF}"/>
          </ac:spMkLst>
        </pc:spChg>
        <pc:spChg chg="add mod">
          <ac:chgData name="Patrice Nivaggioli (pnivaggi)" userId="67e5b0e0-fc7f-4496-a07e-e7b17e1cb63b" providerId="ADAL" clId="{EC233A50-D0FB-7D45-8B5B-36E97234FAAE}" dt="2023-02-17T14:52:23.989" v="836" actId="1076"/>
          <ac:spMkLst>
            <pc:docMk/>
            <pc:sldMk cId="1473680318" sldId="2147471355"/>
            <ac:spMk id="58" creationId="{DC3E36FF-63C7-7269-4242-BBCC45DEAD3C}"/>
          </ac:spMkLst>
        </pc:spChg>
        <pc:spChg chg="add mod">
          <ac:chgData name="Patrice Nivaggioli (pnivaggi)" userId="67e5b0e0-fc7f-4496-a07e-e7b17e1cb63b" providerId="ADAL" clId="{EC233A50-D0FB-7D45-8B5B-36E97234FAAE}" dt="2023-02-17T14:58:02.616" v="1081" actId="1076"/>
          <ac:spMkLst>
            <pc:docMk/>
            <pc:sldMk cId="1473680318" sldId="2147471355"/>
            <ac:spMk id="1025" creationId="{EE6B1907-21AC-8F77-791F-7B1895CC6049}"/>
          </ac:spMkLst>
        </pc:spChg>
        <pc:spChg chg="add mod">
          <ac:chgData name="Patrice Nivaggioli (pnivaggi)" userId="67e5b0e0-fc7f-4496-a07e-e7b17e1cb63b" providerId="ADAL" clId="{EC233A50-D0FB-7D45-8B5B-36E97234FAAE}" dt="2023-02-17T14:53:35.892" v="859" actId="20577"/>
          <ac:spMkLst>
            <pc:docMk/>
            <pc:sldMk cId="1473680318" sldId="2147471355"/>
            <ac:spMk id="1027" creationId="{08E07B23-2949-4DA6-55FE-A012B5B90708}"/>
          </ac:spMkLst>
        </pc:spChg>
        <pc:spChg chg="add mod">
          <ac:chgData name="Patrice Nivaggioli (pnivaggi)" userId="67e5b0e0-fc7f-4496-a07e-e7b17e1cb63b" providerId="ADAL" clId="{EC233A50-D0FB-7D45-8B5B-36E97234FAAE}" dt="2023-02-17T14:57:43.644" v="1075" actId="1035"/>
          <ac:spMkLst>
            <pc:docMk/>
            <pc:sldMk cId="1473680318" sldId="2147471355"/>
            <ac:spMk id="1030" creationId="{4B2D7550-6E90-EFD2-C49F-67A5374815B3}"/>
          </ac:spMkLst>
        </pc:spChg>
        <pc:spChg chg="add mod">
          <ac:chgData name="Patrice Nivaggioli (pnivaggi)" userId="67e5b0e0-fc7f-4496-a07e-e7b17e1cb63b" providerId="ADAL" clId="{EC233A50-D0FB-7D45-8B5B-36E97234FAAE}" dt="2023-02-17T15:02:59.554" v="1154" actId="20577"/>
          <ac:spMkLst>
            <pc:docMk/>
            <pc:sldMk cId="1473680318" sldId="2147471355"/>
            <ac:spMk id="1034" creationId="{DEAD1B9F-6595-096C-BBBE-D7C797BAEAA6}"/>
          </ac:spMkLst>
        </pc:spChg>
        <pc:spChg chg="add mod">
          <ac:chgData name="Patrice Nivaggioli (pnivaggi)" userId="67e5b0e0-fc7f-4496-a07e-e7b17e1cb63b" providerId="ADAL" clId="{EC233A50-D0FB-7D45-8B5B-36E97234FAAE}" dt="2023-02-17T14:58:36.535" v="1088" actId="208"/>
          <ac:spMkLst>
            <pc:docMk/>
            <pc:sldMk cId="1473680318" sldId="2147471355"/>
            <ac:spMk id="1035" creationId="{007F5CF3-94D8-0B62-1133-51756D63DDCD}"/>
          </ac:spMkLst>
        </pc:spChg>
        <pc:spChg chg="add mod">
          <ac:chgData name="Patrice Nivaggioli (pnivaggi)" userId="67e5b0e0-fc7f-4496-a07e-e7b17e1cb63b" providerId="ADAL" clId="{EC233A50-D0FB-7D45-8B5B-36E97234FAAE}" dt="2023-02-17T14:58:21.515" v="1084" actId="1076"/>
          <ac:spMkLst>
            <pc:docMk/>
            <pc:sldMk cId="1473680318" sldId="2147471355"/>
            <ac:spMk id="1037" creationId="{788410DC-30D7-33A1-C75A-B8A233A81E0F}"/>
          </ac:spMkLst>
        </pc:spChg>
        <pc:spChg chg="add del mod">
          <ac:chgData name="Patrice Nivaggioli (pnivaggi)" userId="67e5b0e0-fc7f-4496-a07e-e7b17e1cb63b" providerId="ADAL" clId="{EC233A50-D0FB-7D45-8B5B-36E97234FAAE}" dt="2023-02-17T14:58:25.970" v="1085" actId="478"/>
          <ac:spMkLst>
            <pc:docMk/>
            <pc:sldMk cId="1473680318" sldId="2147471355"/>
            <ac:spMk id="1041" creationId="{D5D30C53-E118-2431-5733-F733FFD3D9D8}"/>
          </ac:spMkLst>
        </pc:spChg>
        <pc:grpChg chg="add del mod">
          <ac:chgData name="Patrice Nivaggioli (pnivaggi)" userId="67e5b0e0-fc7f-4496-a07e-e7b17e1cb63b" providerId="ADAL" clId="{EC233A50-D0FB-7D45-8B5B-36E97234FAAE}" dt="2023-02-17T14:37:13.152" v="734" actId="478"/>
          <ac:grpSpMkLst>
            <pc:docMk/>
            <pc:sldMk cId="1473680318" sldId="2147471355"/>
            <ac:grpSpMk id="17" creationId="{04879C1D-2C91-7F59-53A8-F92599936B9A}"/>
          </ac:grpSpMkLst>
        </pc:grpChg>
        <pc:grpChg chg="add del mod">
          <ac:chgData name="Patrice Nivaggioli (pnivaggi)" userId="67e5b0e0-fc7f-4496-a07e-e7b17e1cb63b" providerId="ADAL" clId="{EC233A50-D0FB-7D45-8B5B-36E97234FAAE}" dt="2023-02-17T14:37:11.807" v="733" actId="478"/>
          <ac:grpSpMkLst>
            <pc:docMk/>
            <pc:sldMk cId="1473680318" sldId="2147471355"/>
            <ac:grpSpMk id="18" creationId="{8B9C8038-727D-B520-80FB-AA2234160626}"/>
          </ac:grpSpMkLst>
        </pc:grpChg>
        <pc:grpChg chg="add del mod">
          <ac:chgData name="Patrice Nivaggioli (pnivaggi)" userId="67e5b0e0-fc7f-4496-a07e-e7b17e1cb63b" providerId="ADAL" clId="{EC233A50-D0FB-7D45-8B5B-36E97234FAAE}" dt="2023-02-17T14:55:31.365" v="883" actId="165"/>
          <ac:grpSpMkLst>
            <pc:docMk/>
            <pc:sldMk cId="1473680318" sldId="2147471355"/>
            <ac:grpSpMk id="24" creationId="{F9304C3F-3445-C7FD-B6A5-0DD729CBD529}"/>
          </ac:grpSpMkLst>
        </pc:grpChg>
        <pc:grpChg chg="add mod">
          <ac:chgData name="Patrice Nivaggioli (pnivaggi)" userId="67e5b0e0-fc7f-4496-a07e-e7b17e1cb63b" providerId="ADAL" clId="{EC233A50-D0FB-7D45-8B5B-36E97234FAAE}" dt="2023-02-17T15:04:56.687" v="1157" actId="478"/>
          <ac:grpSpMkLst>
            <pc:docMk/>
            <pc:sldMk cId="1473680318" sldId="2147471355"/>
            <ac:grpSpMk id="40" creationId="{9469D2AB-569A-4D65-AA87-58506C3B2E18}"/>
          </ac:grpSpMkLst>
        </pc:grpChg>
        <pc:grpChg chg="add del mod">
          <ac:chgData name="Patrice Nivaggioli (pnivaggi)" userId="67e5b0e0-fc7f-4496-a07e-e7b17e1cb63b" providerId="ADAL" clId="{EC233A50-D0FB-7D45-8B5B-36E97234FAAE}" dt="2023-02-17T14:58:10.318" v="1082" actId="478"/>
          <ac:grpSpMkLst>
            <pc:docMk/>
            <pc:sldMk cId="1473680318" sldId="2147471355"/>
            <ac:grpSpMk id="47" creationId="{45851254-0F55-DFAA-C933-8A5E9AA17CD9}"/>
          </ac:grpSpMkLst>
        </pc:grpChg>
        <pc:picChg chg="add mod">
          <ac:chgData name="Patrice Nivaggioli (pnivaggi)" userId="67e5b0e0-fc7f-4496-a07e-e7b17e1cb63b" providerId="ADAL" clId="{EC233A50-D0FB-7D45-8B5B-36E97234FAAE}" dt="2023-02-17T14:31:42.053" v="529" actId="1076"/>
          <ac:picMkLst>
            <pc:docMk/>
            <pc:sldMk cId="1473680318" sldId="2147471355"/>
            <ac:picMk id="13" creationId="{4988782D-2679-0C12-2FCD-45C231E1BB06}"/>
          </ac:picMkLst>
        </pc:picChg>
        <pc:picChg chg="add mod">
          <ac:chgData name="Patrice Nivaggioli (pnivaggi)" userId="67e5b0e0-fc7f-4496-a07e-e7b17e1cb63b" providerId="ADAL" clId="{EC233A50-D0FB-7D45-8B5B-36E97234FAAE}" dt="2023-02-17T14:31:42.053" v="529" actId="1076"/>
          <ac:picMkLst>
            <pc:docMk/>
            <pc:sldMk cId="1473680318" sldId="2147471355"/>
            <ac:picMk id="15" creationId="{9065ABF8-3256-369A-CC3F-40D1A1E037CA}"/>
          </ac:picMkLst>
        </pc:picChg>
        <pc:picChg chg="add mod">
          <ac:chgData name="Patrice Nivaggioli (pnivaggi)" userId="67e5b0e0-fc7f-4496-a07e-e7b17e1cb63b" providerId="ADAL" clId="{EC233A50-D0FB-7D45-8B5B-36E97234FAAE}" dt="2023-02-17T14:31:42.053" v="529" actId="1076"/>
          <ac:picMkLst>
            <pc:docMk/>
            <pc:sldMk cId="1473680318" sldId="2147471355"/>
            <ac:picMk id="16" creationId="{0678AC55-1E0C-FE5C-DC82-02FF3C010634}"/>
          </ac:picMkLst>
        </pc:picChg>
        <pc:picChg chg="mod">
          <ac:chgData name="Patrice Nivaggioli (pnivaggi)" userId="67e5b0e0-fc7f-4496-a07e-e7b17e1cb63b" providerId="ADAL" clId="{EC233A50-D0FB-7D45-8B5B-36E97234FAAE}" dt="2023-02-17T14:31:42.053" v="529" actId="1076"/>
          <ac:picMkLst>
            <pc:docMk/>
            <pc:sldMk cId="1473680318" sldId="2147471355"/>
            <ac:picMk id="20" creationId="{38E5D4E7-633A-19D8-2B22-973228A42EE3}"/>
          </ac:picMkLst>
        </pc:picChg>
        <pc:picChg chg="mod">
          <ac:chgData name="Patrice Nivaggioli (pnivaggi)" userId="67e5b0e0-fc7f-4496-a07e-e7b17e1cb63b" providerId="ADAL" clId="{EC233A50-D0FB-7D45-8B5B-36E97234FAAE}" dt="2023-02-17T14:31:42.053" v="529" actId="1076"/>
          <ac:picMkLst>
            <pc:docMk/>
            <pc:sldMk cId="1473680318" sldId="2147471355"/>
            <ac:picMk id="22" creationId="{45239F5A-EA67-3FAE-8392-BA4C6EA1A878}"/>
          </ac:picMkLst>
        </pc:picChg>
        <pc:picChg chg="mod">
          <ac:chgData name="Patrice Nivaggioli (pnivaggi)" userId="67e5b0e0-fc7f-4496-a07e-e7b17e1cb63b" providerId="ADAL" clId="{EC233A50-D0FB-7D45-8B5B-36E97234FAAE}" dt="2023-02-17T14:31:42.053" v="529" actId="1076"/>
          <ac:picMkLst>
            <pc:docMk/>
            <pc:sldMk cId="1473680318" sldId="2147471355"/>
            <ac:picMk id="23" creationId="{46F34FE0-CA7C-DE9A-1FC6-70D477D886C2}"/>
          </ac:picMkLst>
        </pc:picChg>
        <pc:picChg chg="mod topLvl">
          <ac:chgData name="Patrice Nivaggioli (pnivaggi)" userId="67e5b0e0-fc7f-4496-a07e-e7b17e1cb63b" providerId="ADAL" clId="{EC233A50-D0FB-7D45-8B5B-36E97234FAAE}" dt="2023-02-17T16:40:20.594" v="1840" actId="1037"/>
          <ac:picMkLst>
            <pc:docMk/>
            <pc:sldMk cId="1473680318" sldId="2147471355"/>
            <ac:picMk id="26" creationId="{9DD0A36F-78D3-BBA7-321A-5C2D710A2F01}"/>
          </ac:picMkLst>
        </pc:picChg>
        <pc:picChg chg="mod topLvl">
          <ac:chgData name="Patrice Nivaggioli (pnivaggi)" userId="67e5b0e0-fc7f-4496-a07e-e7b17e1cb63b" providerId="ADAL" clId="{EC233A50-D0FB-7D45-8B5B-36E97234FAAE}" dt="2023-02-17T16:40:15.309" v="1828" actId="1036"/>
          <ac:picMkLst>
            <pc:docMk/>
            <pc:sldMk cId="1473680318" sldId="2147471355"/>
            <ac:picMk id="28" creationId="{B4BB9BA6-8F15-1303-5013-3FACA2FA6845}"/>
          </ac:picMkLst>
        </pc:picChg>
        <pc:picChg chg="mod topLvl">
          <ac:chgData name="Patrice Nivaggioli (pnivaggi)" userId="67e5b0e0-fc7f-4496-a07e-e7b17e1cb63b" providerId="ADAL" clId="{EC233A50-D0FB-7D45-8B5B-36E97234FAAE}" dt="2023-02-17T16:40:15.309" v="1828" actId="1036"/>
          <ac:picMkLst>
            <pc:docMk/>
            <pc:sldMk cId="1473680318" sldId="2147471355"/>
            <ac:picMk id="29" creationId="{09030B8B-6433-C705-9849-39E4AB5FE045}"/>
          </ac:picMkLst>
        </pc:picChg>
        <pc:picChg chg="add mod">
          <ac:chgData name="Patrice Nivaggioli (pnivaggi)" userId="67e5b0e0-fc7f-4496-a07e-e7b17e1cb63b" providerId="ADAL" clId="{EC233A50-D0FB-7D45-8B5B-36E97234FAAE}" dt="2023-02-17T15:04:56.687" v="1157" actId="478"/>
          <ac:picMkLst>
            <pc:docMk/>
            <pc:sldMk cId="1473680318" sldId="2147471355"/>
            <ac:picMk id="30" creationId="{9CF89A44-A54E-72C7-D914-E4A3E4F27F8F}"/>
          </ac:picMkLst>
        </pc:picChg>
        <pc:picChg chg="add mod">
          <ac:chgData name="Patrice Nivaggioli (pnivaggi)" userId="67e5b0e0-fc7f-4496-a07e-e7b17e1cb63b" providerId="ADAL" clId="{EC233A50-D0FB-7D45-8B5B-36E97234FAAE}" dt="2023-02-17T15:04:56.687" v="1157" actId="478"/>
          <ac:picMkLst>
            <pc:docMk/>
            <pc:sldMk cId="1473680318" sldId="2147471355"/>
            <ac:picMk id="32" creationId="{6BFC4076-D09A-2250-2942-23415463E689}"/>
          </ac:picMkLst>
        </pc:picChg>
        <pc:picChg chg="add del mod">
          <ac:chgData name="Patrice Nivaggioli (pnivaggi)" userId="67e5b0e0-fc7f-4496-a07e-e7b17e1cb63b" providerId="ADAL" clId="{EC233A50-D0FB-7D45-8B5B-36E97234FAAE}" dt="2023-02-17T15:04:54.260" v="1156" actId="478"/>
          <ac:picMkLst>
            <pc:docMk/>
            <pc:sldMk cId="1473680318" sldId="2147471355"/>
            <ac:picMk id="34" creationId="{16DCA114-8AB6-C8F4-AE36-5AAAE4923ECC}"/>
          </ac:picMkLst>
        </pc:picChg>
        <pc:picChg chg="add del mod">
          <ac:chgData name="Patrice Nivaggioli (pnivaggi)" userId="67e5b0e0-fc7f-4496-a07e-e7b17e1cb63b" providerId="ADAL" clId="{EC233A50-D0FB-7D45-8B5B-36E97234FAAE}" dt="2023-02-17T15:04:56.687" v="1157" actId="478"/>
          <ac:picMkLst>
            <pc:docMk/>
            <pc:sldMk cId="1473680318" sldId="2147471355"/>
            <ac:picMk id="36" creationId="{A88F80D1-7EDD-C892-1444-DBA5F6C8AFD7}"/>
          </ac:picMkLst>
        </pc:picChg>
        <pc:picChg chg="add mod">
          <ac:chgData name="Patrice Nivaggioli (pnivaggi)" userId="67e5b0e0-fc7f-4496-a07e-e7b17e1cb63b" providerId="ADAL" clId="{EC233A50-D0FB-7D45-8B5B-36E97234FAAE}" dt="2023-02-17T15:04:56.687" v="1157" actId="478"/>
          <ac:picMkLst>
            <pc:docMk/>
            <pc:sldMk cId="1473680318" sldId="2147471355"/>
            <ac:picMk id="38" creationId="{302934C3-22D3-9F54-5194-05CFBAF20142}"/>
          </ac:picMkLst>
        </pc:picChg>
        <pc:picChg chg="add mod">
          <ac:chgData name="Patrice Nivaggioli (pnivaggi)" userId="67e5b0e0-fc7f-4496-a07e-e7b17e1cb63b" providerId="ADAL" clId="{EC233A50-D0FB-7D45-8B5B-36E97234FAAE}" dt="2023-02-17T14:52:23.989" v="836" actId="1076"/>
          <ac:picMkLst>
            <pc:docMk/>
            <pc:sldMk cId="1473680318" sldId="2147471355"/>
            <ac:picMk id="41" creationId="{6814A424-97C2-4457-1559-D492F77CAE54}"/>
          </ac:picMkLst>
        </pc:picChg>
        <pc:picChg chg="mod">
          <ac:chgData name="Patrice Nivaggioli (pnivaggi)" userId="67e5b0e0-fc7f-4496-a07e-e7b17e1cb63b" providerId="ADAL" clId="{EC233A50-D0FB-7D45-8B5B-36E97234FAAE}" dt="2023-02-17T14:52:23.989" v="836" actId="1076"/>
          <ac:picMkLst>
            <pc:docMk/>
            <pc:sldMk cId="1473680318" sldId="2147471355"/>
            <ac:picMk id="49" creationId="{9B593D41-A1B0-1205-BEC8-18F8F7467D7B}"/>
          </ac:picMkLst>
        </pc:picChg>
        <pc:picChg chg="mod">
          <ac:chgData name="Patrice Nivaggioli (pnivaggi)" userId="67e5b0e0-fc7f-4496-a07e-e7b17e1cb63b" providerId="ADAL" clId="{EC233A50-D0FB-7D45-8B5B-36E97234FAAE}" dt="2023-02-17T14:52:23.989" v="836" actId="1076"/>
          <ac:picMkLst>
            <pc:docMk/>
            <pc:sldMk cId="1473680318" sldId="2147471355"/>
            <ac:picMk id="51" creationId="{F0F40209-38D9-8E62-3875-360BBAD639E5}"/>
          </ac:picMkLst>
        </pc:picChg>
        <pc:picChg chg="mod">
          <ac:chgData name="Patrice Nivaggioli (pnivaggi)" userId="67e5b0e0-fc7f-4496-a07e-e7b17e1cb63b" providerId="ADAL" clId="{EC233A50-D0FB-7D45-8B5B-36E97234FAAE}" dt="2023-02-17T14:52:23.989" v="836" actId="1076"/>
          <ac:picMkLst>
            <pc:docMk/>
            <pc:sldMk cId="1473680318" sldId="2147471355"/>
            <ac:picMk id="52" creationId="{C52E018D-3A47-7457-801A-709755040E1E}"/>
          </ac:picMkLst>
        </pc:picChg>
        <pc:picChg chg="add del mod">
          <ac:chgData name="Patrice Nivaggioli (pnivaggi)" userId="67e5b0e0-fc7f-4496-a07e-e7b17e1cb63b" providerId="ADAL" clId="{EC233A50-D0FB-7D45-8B5B-36E97234FAAE}" dt="2023-02-17T14:28:09.599" v="442" actId="478"/>
          <ac:picMkLst>
            <pc:docMk/>
            <pc:sldMk cId="1473680318" sldId="2147471355"/>
            <ac:picMk id="1026" creationId="{71AA8899-979E-F4FD-BD1E-3C34FDCA26A7}"/>
          </ac:picMkLst>
        </pc:picChg>
        <pc:picChg chg="add mod">
          <ac:chgData name="Patrice Nivaggioli (pnivaggi)" userId="67e5b0e0-fc7f-4496-a07e-e7b17e1cb63b" providerId="ADAL" clId="{EC233A50-D0FB-7D45-8B5B-36E97234FAAE}" dt="2023-02-17T14:57:43.644" v="1075" actId="1035"/>
          <ac:picMkLst>
            <pc:docMk/>
            <pc:sldMk cId="1473680318" sldId="2147471355"/>
            <ac:picMk id="1029" creationId="{660D8DF8-D354-496D-5DE5-1C532CCC2CEC}"/>
          </ac:picMkLst>
        </pc:picChg>
        <pc:picChg chg="add mod">
          <ac:chgData name="Patrice Nivaggioli (pnivaggi)" userId="67e5b0e0-fc7f-4496-a07e-e7b17e1cb63b" providerId="ADAL" clId="{EC233A50-D0FB-7D45-8B5B-36E97234FAAE}" dt="2023-02-17T16:40:15.309" v="1828" actId="1036"/>
          <ac:picMkLst>
            <pc:docMk/>
            <pc:sldMk cId="1473680318" sldId="2147471355"/>
            <ac:picMk id="1036" creationId="{2BF2D5F0-2668-7E98-6CA5-3BC9508E3E9D}"/>
          </ac:picMkLst>
        </pc:picChg>
        <pc:picChg chg="add mod">
          <ac:chgData name="Patrice Nivaggioli (pnivaggi)" userId="67e5b0e0-fc7f-4496-a07e-e7b17e1cb63b" providerId="ADAL" clId="{EC233A50-D0FB-7D45-8B5B-36E97234FAAE}" dt="2023-02-17T16:40:15.309" v="1828" actId="1036"/>
          <ac:picMkLst>
            <pc:docMk/>
            <pc:sldMk cId="1473680318" sldId="2147471355"/>
            <ac:picMk id="1038" creationId="{9815D12F-1373-7019-3A3C-6C55A04480AA}"/>
          </ac:picMkLst>
        </pc:picChg>
        <pc:picChg chg="add mod">
          <ac:chgData name="Patrice Nivaggioli (pnivaggi)" userId="67e5b0e0-fc7f-4496-a07e-e7b17e1cb63b" providerId="ADAL" clId="{EC233A50-D0FB-7D45-8B5B-36E97234FAAE}" dt="2023-02-17T16:40:15.309" v="1828" actId="1036"/>
          <ac:picMkLst>
            <pc:docMk/>
            <pc:sldMk cId="1473680318" sldId="2147471355"/>
            <ac:picMk id="1039" creationId="{6690892A-50C9-9B72-4F7A-2E3D1D3AC9F2}"/>
          </ac:picMkLst>
        </pc:picChg>
        <pc:picChg chg="add del mod">
          <ac:chgData name="Patrice Nivaggioli (pnivaggi)" userId="67e5b0e0-fc7f-4496-a07e-e7b17e1cb63b" providerId="ADAL" clId="{EC233A50-D0FB-7D45-8B5B-36E97234FAAE}" dt="2023-02-17T14:58:27.503" v="1086" actId="478"/>
          <ac:picMkLst>
            <pc:docMk/>
            <pc:sldMk cId="1473680318" sldId="2147471355"/>
            <ac:picMk id="1040" creationId="{A8242109-12A6-8088-7B45-32CE15DDFB26}"/>
          </ac:picMkLst>
        </pc:picChg>
        <pc:picChg chg="add mod">
          <ac:chgData name="Patrice Nivaggioli (pnivaggi)" userId="67e5b0e0-fc7f-4496-a07e-e7b17e1cb63b" providerId="ADAL" clId="{EC233A50-D0FB-7D45-8B5B-36E97234FAAE}" dt="2023-02-17T15:11:04.364" v="1325"/>
          <ac:picMkLst>
            <pc:docMk/>
            <pc:sldMk cId="1473680318" sldId="2147471355"/>
            <ac:picMk id="1042" creationId="{97EF68CF-83ED-EA97-63E7-C69791065698}"/>
          </ac:picMkLst>
        </pc:picChg>
        <pc:cxnChg chg="add mod">
          <ac:chgData name="Patrice Nivaggioli (pnivaggi)" userId="67e5b0e0-fc7f-4496-a07e-e7b17e1cb63b" providerId="ADAL" clId="{EC233A50-D0FB-7D45-8B5B-36E97234FAAE}" dt="2023-02-17T14:52:23.989" v="836" actId="1076"/>
          <ac:cxnSpMkLst>
            <pc:docMk/>
            <pc:sldMk cId="1473680318" sldId="2147471355"/>
            <ac:cxnSpMk id="43" creationId="{93B8D690-32BC-E2FD-CC79-033489C02CB9}"/>
          </ac:cxnSpMkLst>
        </pc:cxnChg>
        <pc:cxnChg chg="add mod">
          <ac:chgData name="Patrice Nivaggioli (pnivaggi)" userId="67e5b0e0-fc7f-4496-a07e-e7b17e1cb63b" providerId="ADAL" clId="{EC233A50-D0FB-7D45-8B5B-36E97234FAAE}" dt="2023-02-17T14:52:23.989" v="836" actId="1076"/>
          <ac:cxnSpMkLst>
            <pc:docMk/>
            <pc:sldMk cId="1473680318" sldId="2147471355"/>
            <ac:cxnSpMk id="44" creationId="{96DB69A3-257D-CB66-8350-DF5B698441B0}"/>
          </ac:cxnSpMkLst>
        </pc:cxnChg>
        <pc:cxnChg chg="add mod">
          <ac:chgData name="Patrice Nivaggioli (pnivaggi)" userId="67e5b0e0-fc7f-4496-a07e-e7b17e1cb63b" providerId="ADAL" clId="{EC233A50-D0FB-7D45-8B5B-36E97234FAAE}" dt="2023-02-17T14:52:23.989" v="836" actId="1076"/>
          <ac:cxnSpMkLst>
            <pc:docMk/>
            <pc:sldMk cId="1473680318" sldId="2147471355"/>
            <ac:cxnSpMk id="54" creationId="{BC6DD132-E7CB-014A-4CD5-5D6FC8BE3BDF}"/>
          </ac:cxnSpMkLst>
        </pc:cxnChg>
        <pc:cxnChg chg="add del mod">
          <ac:chgData name="Patrice Nivaggioli (pnivaggi)" userId="67e5b0e0-fc7f-4496-a07e-e7b17e1cb63b" providerId="ADAL" clId="{EC233A50-D0FB-7D45-8B5B-36E97234FAAE}" dt="2023-02-17T14:48:48.274" v="812" actId="478"/>
          <ac:cxnSpMkLst>
            <pc:docMk/>
            <pc:sldMk cId="1473680318" sldId="2147471355"/>
            <ac:cxnSpMk id="60" creationId="{278909C9-CCA8-2E29-6173-126C6986F4B1}"/>
          </ac:cxnSpMkLst>
        </pc:cxnChg>
        <pc:cxnChg chg="add mod">
          <ac:chgData name="Patrice Nivaggioli (pnivaggi)" userId="67e5b0e0-fc7f-4496-a07e-e7b17e1cb63b" providerId="ADAL" clId="{EC233A50-D0FB-7D45-8B5B-36E97234FAAE}" dt="2023-02-17T14:52:23.989" v="836" actId="1076"/>
          <ac:cxnSpMkLst>
            <pc:docMk/>
            <pc:sldMk cId="1473680318" sldId="2147471355"/>
            <ac:cxnSpMk id="62" creationId="{DABC3C3E-CB7F-BE2A-FBF9-D4BADC430E19}"/>
          </ac:cxnSpMkLst>
        </pc:cxnChg>
        <pc:cxnChg chg="add mod">
          <ac:chgData name="Patrice Nivaggioli (pnivaggi)" userId="67e5b0e0-fc7f-4496-a07e-e7b17e1cb63b" providerId="ADAL" clId="{EC233A50-D0FB-7D45-8B5B-36E97234FAAE}" dt="2023-02-17T14:52:23.989" v="836" actId="1076"/>
          <ac:cxnSpMkLst>
            <pc:docMk/>
            <pc:sldMk cId="1473680318" sldId="2147471355"/>
            <ac:cxnSpMk id="1024" creationId="{03D28731-B8C5-F7C6-4291-931F47295EC0}"/>
          </ac:cxnSpMkLst>
        </pc:cxnChg>
        <pc:cxnChg chg="add mod">
          <ac:chgData name="Patrice Nivaggioli (pnivaggi)" userId="67e5b0e0-fc7f-4496-a07e-e7b17e1cb63b" providerId="ADAL" clId="{EC233A50-D0FB-7D45-8B5B-36E97234FAAE}" dt="2023-02-17T14:54:02.135" v="861"/>
          <ac:cxnSpMkLst>
            <pc:docMk/>
            <pc:sldMk cId="1473680318" sldId="2147471355"/>
            <ac:cxnSpMk id="1028" creationId="{DC62ADBC-B008-8B10-F8F2-69B274CBF6F2}"/>
          </ac:cxnSpMkLst>
        </pc:cxnChg>
        <pc:cxnChg chg="add mod">
          <ac:chgData name="Patrice Nivaggioli (pnivaggi)" userId="67e5b0e0-fc7f-4496-a07e-e7b17e1cb63b" providerId="ADAL" clId="{EC233A50-D0FB-7D45-8B5B-36E97234FAAE}" dt="2023-02-17T14:57:43.644" v="1075" actId="1035"/>
          <ac:cxnSpMkLst>
            <pc:docMk/>
            <pc:sldMk cId="1473680318" sldId="2147471355"/>
            <ac:cxnSpMk id="1031" creationId="{72FFA0FC-E428-B7B6-5B80-A4E47E488331}"/>
          </ac:cxnSpMkLst>
        </pc:cxnChg>
      </pc:sldChg>
      <pc:sldChg chg="addSp delSp modSp add mod">
        <pc:chgData name="Patrice Nivaggioli (pnivaggi)" userId="67e5b0e0-fc7f-4496-a07e-e7b17e1cb63b" providerId="ADAL" clId="{EC233A50-D0FB-7D45-8B5B-36E97234FAAE}" dt="2023-02-17T16:47:35.916" v="1841" actId="20577"/>
        <pc:sldMkLst>
          <pc:docMk/>
          <pc:sldMk cId="2953738879" sldId="2147471356"/>
        </pc:sldMkLst>
        <pc:spChg chg="mod">
          <ac:chgData name="Patrice Nivaggioli (pnivaggi)" userId="67e5b0e0-fc7f-4496-a07e-e7b17e1cb63b" providerId="ADAL" clId="{EC233A50-D0FB-7D45-8B5B-36E97234FAAE}" dt="2023-02-17T15:05:59.802" v="1191" actId="20577"/>
          <ac:spMkLst>
            <pc:docMk/>
            <pc:sldMk cId="2953738879" sldId="2147471356"/>
            <ac:spMk id="2" creationId="{177C333F-5D2E-5F63-2403-D228CF8B3C26}"/>
          </ac:spMkLst>
        </pc:spChg>
        <pc:spChg chg="mod">
          <ac:chgData name="Patrice Nivaggioli (pnivaggi)" userId="67e5b0e0-fc7f-4496-a07e-e7b17e1cb63b" providerId="ADAL" clId="{EC233A50-D0FB-7D45-8B5B-36E97234FAAE}" dt="2023-02-17T16:47:35.916" v="1841" actId="20577"/>
          <ac:spMkLst>
            <pc:docMk/>
            <pc:sldMk cId="2953738879" sldId="2147471356"/>
            <ac:spMk id="3" creationId="{EE9D31B2-AA65-E735-EDB6-5832C8B5E7DC}"/>
          </ac:spMkLst>
        </pc:spChg>
        <pc:spChg chg="del mod">
          <ac:chgData name="Patrice Nivaggioli (pnivaggi)" userId="67e5b0e0-fc7f-4496-a07e-e7b17e1cb63b" providerId="ADAL" clId="{EC233A50-D0FB-7D45-8B5B-36E97234FAAE}" dt="2023-02-17T15:29:05.106" v="1557" actId="478"/>
          <ac:spMkLst>
            <pc:docMk/>
            <pc:sldMk cId="2953738879" sldId="2147471356"/>
            <ac:spMk id="4" creationId="{5A9989C2-5D26-9A62-58C7-58D649FC39D3}"/>
          </ac:spMkLst>
        </pc:spChg>
        <pc:spChg chg="mod">
          <ac:chgData name="Patrice Nivaggioli (pnivaggi)" userId="67e5b0e0-fc7f-4496-a07e-e7b17e1cb63b" providerId="ADAL" clId="{EC233A50-D0FB-7D45-8B5B-36E97234FAAE}" dt="2023-02-17T16:09:35.123" v="1796" actId="1036"/>
          <ac:spMkLst>
            <pc:docMk/>
            <pc:sldMk cId="2953738879" sldId="2147471356"/>
            <ac:spMk id="5" creationId="{EA19FC52-07AE-A358-3355-DD5D2311B659}"/>
          </ac:spMkLst>
        </pc:spChg>
        <pc:spChg chg="add mod">
          <ac:chgData name="Patrice Nivaggioli (pnivaggi)" userId="67e5b0e0-fc7f-4496-a07e-e7b17e1cb63b" providerId="ADAL" clId="{EC233A50-D0FB-7D45-8B5B-36E97234FAAE}" dt="2023-02-17T16:09:35.123" v="1796" actId="1036"/>
          <ac:spMkLst>
            <pc:docMk/>
            <pc:sldMk cId="2953738879" sldId="2147471356"/>
            <ac:spMk id="7" creationId="{51712AD5-C774-CE4A-BD98-DBB191DF9170}"/>
          </ac:spMkLst>
        </pc:spChg>
        <pc:spChg chg="add mod">
          <ac:chgData name="Patrice Nivaggioli (pnivaggi)" userId="67e5b0e0-fc7f-4496-a07e-e7b17e1cb63b" providerId="ADAL" clId="{EC233A50-D0FB-7D45-8B5B-36E97234FAAE}" dt="2023-02-17T16:09:35.123" v="1796" actId="1036"/>
          <ac:spMkLst>
            <pc:docMk/>
            <pc:sldMk cId="2953738879" sldId="2147471356"/>
            <ac:spMk id="8" creationId="{3BAF3E2D-139B-42F4-D08A-16C38B691E97}"/>
          </ac:spMkLst>
        </pc:spChg>
        <pc:spChg chg="mod">
          <ac:chgData name="Patrice Nivaggioli (pnivaggi)" userId="67e5b0e0-fc7f-4496-a07e-e7b17e1cb63b" providerId="ADAL" clId="{EC233A50-D0FB-7D45-8B5B-36E97234FAAE}" dt="2023-02-17T16:09:35.123" v="1796" actId="1036"/>
          <ac:spMkLst>
            <pc:docMk/>
            <pc:sldMk cId="2953738879" sldId="2147471356"/>
            <ac:spMk id="9" creationId="{FA428275-E218-26A2-A6BC-08217AECDE44}"/>
          </ac:spMkLst>
        </pc:spChg>
        <pc:spChg chg="add del">
          <ac:chgData name="Patrice Nivaggioli (pnivaggi)" userId="67e5b0e0-fc7f-4496-a07e-e7b17e1cb63b" providerId="ADAL" clId="{EC233A50-D0FB-7D45-8B5B-36E97234FAAE}" dt="2023-02-17T15:08:56.931" v="1282" actId="478"/>
          <ac:spMkLst>
            <pc:docMk/>
            <pc:sldMk cId="2953738879" sldId="2147471356"/>
            <ac:spMk id="11" creationId="{C17F75B8-35B9-CE95-B9C6-0C88DD751A4C}"/>
          </ac:spMkLst>
        </pc:spChg>
        <pc:spChg chg="add mod">
          <ac:chgData name="Patrice Nivaggioli (pnivaggi)" userId="67e5b0e0-fc7f-4496-a07e-e7b17e1cb63b" providerId="ADAL" clId="{EC233A50-D0FB-7D45-8B5B-36E97234FAAE}" dt="2023-02-17T16:39:49.354" v="1806" actId="1035"/>
          <ac:spMkLst>
            <pc:docMk/>
            <pc:sldMk cId="2953738879" sldId="2147471356"/>
            <ac:spMk id="12" creationId="{0CA833B3-5FD0-76C8-B321-1510441EABD4}"/>
          </ac:spMkLst>
        </pc:spChg>
        <pc:spChg chg="mod">
          <ac:chgData name="Patrice Nivaggioli (pnivaggi)" userId="67e5b0e0-fc7f-4496-a07e-e7b17e1cb63b" providerId="ADAL" clId="{EC233A50-D0FB-7D45-8B5B-36E97234FAAE}" dt="2023-02-17T16:39:49.354" v="1806" actId="1035"/>
          <ac:spMkLst>
            <pc:docMk/>
            <pc:sldMk cId="2953738879" sldId="2147471356"/>
            <ac:spMk id="25" creationId="{4CDFC584-1051-C055-D662-144AC4228506}"/>
          </ac:spMkLst>
        </pc:spChg>
        <pc:spChg chg="mod">
          <ac:chgData name="Patrice Nivaggioli (pnivaggi)" userId="67e5b0e0-fc7f-4496-a07e-e7b17e1cb63b" providerId="ADAL" clId="{EC233A50-D0FB-7D45-8B5B-36E97234FAAE}" dt="2023-02-17T16:39:49.354" v="1806" actId="1035"/>
          <ac:spMkLst>
            <pc:docMk/>
            <pc:sldMk cId="2953738879" sldId="2147471356"/>
            <ac:spMk id="27" creationId="{027A29B9-C6D4-B487-46BF-4DCCBF60A919}"/>
          </ac:spMkLst>
        </pc:spChg>
        <pc:spChg chg="del mod">
          <ac:chgData name="Patrice Nivaggioli (pnivaggi)" userId="67e5b0e0-fc7f-4496-a07e-e7b17e1cb63b" providerId="ADAL" clId="{EC233A50-D0FB-7D45-8B5B-36E97234FAAE}" dt="2023-02-17T16:00:58.310" v="1616" actId="478"/>
          <ac:spMkLst>
            <pc:docMk/>
            <pc:sldMk cId="2953738879" sldId="2147471356"/>
            <ac:spMk id="31" creationId="{E14BECCF-F451-99EF-89AF-7D015DE6AF73}"/>
          </ac:spMkLst>
        </pc:spChg>
        <pc:spChg chg="del mod">
          <ac:chgData name="Patrice Nivaggioli (pnivaggi)" userId="67e5b0e0-fc7f-4496-a07e-e7b17e1cb63b" providerId="ADAL" clId="{EC233A50-D0FB-7D45-8B5B-36E97234FAAE}" dt="2023-02-17T16:00:50.313" v="1613" actId="478"/>
          <ac:spMkLst>
            <pc:docMk/>
            <pc:sldMk cId="2953738879" sldId="2147471356"/>
            <ac:spMk id="33" creationId="{9C2730CE-37C3-B4BA-772B-66C5EDA37FFF}"/>
          </ac:spMkLst>
        </pc:spChg>
        <pc:spChg chg="mod">
          <ac:chgData name="Patrice Nivaggioli (pnivaggi)" userId="67e5b0e0-fc7f-4496-a07e-e7b17e1cb63b" providerId="ADAL" clId="{EC233A50-D0FB-7D45-8B5B-36E97234FAAE}" dt="2023-02-17T16:09:35.123" v="1796" actId="1036"/>
          <ac:spMkLst>
            <pc:docMk/>
            <pc:sldMk cId="2953738879" sldId="2147471356"/>
            <ac:spMk id="35" creationId="{D7CD50F9-B099-9828-89AF-59E1780A78BB}"/>
          </ac:spMkLst>
        </pc:spChg>
        <pc:spChg chg="mod">
          <ac:chgData name="Patrice Nivaggioli (pnivaggi)" userId="67e5b0e0-fc7f-4496-a07e-e7b17e1cb63b" providerId="ADAL" clId="{EC233A50-D0FB-7D45-8B5B-36E97234FAAE}" dt="2023-02-17T16:09:35.123" v="1796" actId="1036"/>
          <ac:spMkLst>
            <pc:docMk/>
            <pc:sldMk cId="2953738879" sldId="2147471356"/>
            <ac:spMk id="37" creationId="{9F7A5B02-A480-AF7F-CA36-1C9B4952D20D}"/>
          </ac:spMkLst>
        </pc:spChg>
        <pc:spChg chg="mod">
          <ac:chgData name="Patrice Nivaggioli (pnivaggi)" userId="67e5b0e0-fc7f-4496-a07e-e7b17e1cb63b" providerId="ADAL" clId="{EC233A50-D0FB-7D45-8B5B-36E97234FAAE}" dt="2023-02-17T16:09:35.123" v="1796" actId="1036"/>
          <ac:spMkLst>
            <pc:docMk/>
            <pc:sldMk cId="2953738879" sldId="2147471356"/>
            <ac:spMk id="39" creationId="{C32914F8-D76B-DA7D-A240-FF7E21D7F931}"/>
          </ac:spMkLst>
        </pc:spChg>
        <pc:spChg chg="mod">
          <ac:chgData name="Patrice Nivaggioli (pnivaggi)" userId="67e5b0e0-fc7f-4496-a07e-e7b17e1cb63b" providerId="ADAL" clId="{EC233A50-D0FB-7D45-8B5B-36E97234FAAE}" dt="2023-02-17T16:09:35.123" v="1796" actId="1036"/>
          <ac:spMkLst>
            <pc:docMk/>
            <pc:sldMk cId="2953738879" sldId="2147471356"/>
            <ac:spMk id="45" creationId="{68CCBDC0-8B3C-8415-781E-08931C44982A}"/>
          </ac:spMkLst>
        </pc:spChg>
        <pc:spChg chg="mod">
          <ac:chgData name="Patrice Nivaggioli (pnivaggi)" userId="67e5b0e0-fc7f-4496-a07e-e7b17e1cb63b" providerId="ADAL" clId="{EC233A50-D0FB-7D45-8B5B-36E97234FAAE}" dt="2023-02-17T16:09:35.123" v="1796" actId="1036"/>
          <ac:spMkLst>
            <pc:docMk/>
            <pc:sldMk cId="2953738879" sldId="2147471356"/>
            <ac:spMk id="46" creationId="{55809E87-D157-6088-3DEB-EC58FE70617A}"/>
          </ac:spMkLst>
        </pc:spChg>
        <pc:spChg chg="add mod">
          <ac:chgData name="Patrice Nivaggioli (pnivaggi)" userId="67e5b0e0-fc7f-4496-a07e-e7b17e1cb63b" providerId="ADAL" clId="{EC233A50-D0FB-7D45-8B5B-36E97234FAAE}" dt="2023-02-17T16:39:49.354" v="1806" actId="1035"/>
          <ac:spMkLst>
            <pc:docMk/>
            <pc:sldMk cId="2953738879" sldId="2147471356"/>
            <ac:spMk id="56" creationId="{66E8988D-022E-C3B1-2815-76AD9A0C3429}"/>
          </ac:spMkLst>
        </pc:spChg>
        <pc:spChg chg="mod">
          <ac:chgData name="Patrice Nivaggioli (pnivaggi)" userId="67e5b0e0-fc7f-4496-a07e-e7b17e1cb63b" providerId="ADAL" clId="{EC233A50-D0FB-7D45-8B5B-36E97234FAAE}" dt="2023-02-17T16:09:35.123" v="1796" actId="1036"/>
          <ac:spMkLst>
            <pc:docMk/>
            <pc:sldMk cId="2953738879" sldId="2147471356"/>
            <ac:spMk id="57" creationId="{610D8B86-4914-1B5D-C3DD-91ED890ED4EF}"/>
          </ac:spMkLst>
        </pc:spChg>
        <pc:spChg chg="mod">
          <ac:chgData name="Patrice Nivaggioli (pnivaggi)" userId="67e5b0e0-fc7f-4496-a07e-e7b17e1cb63b" providerId="ADAL" clId="{EC233A50-D0FB-7D45-8B5B-36E97234FAAE}" dt="2023-02-17T16:09:35.123" v="1796" actId="1036"/>
          <ac:spMkLst>
            <pc:docMk/>
            <pc:sldMk cId="2953738879" sldId="2147471356"/>
            <ac:spMk id="58" creationId="{DC3E36FF-63C7-7269-4242-BBCC45DEAD3C}"/>
          </ac:spMkLst>
        </pc:spChg>
        <pc:spChg chg="add del mod">
          <ac:chgData name="Patrice Nivaggioli (pnivaggi)" userId="67e5b0e0-fc7f-4496-a07e-e7b17e1cb63b" providerId="ADAL" clId="{EC233A50-D0FB-7D45-8B5B-36E97234FAAE}" dt="2023-02-17T15:31:59.438" v="1607" actId="478"/>
          <ac:spMkLst>
            <pc:docMk/>
            <pc:sldMk cId="2953738879" sldId="2147471356"/>
            <ac:spMk id="59" creationId="{187067DB-91B0-1BDF-745B-4540B24B0785}"/>
          </ac:spMkLst>
        </pc:spChg>
        <pc:spChg chg="add mod">
          <ac:chgData name="Patrice Nivaggioli (pnivaggi)" userId="67e5b0e0-fc7f-4496-a07e-e7b17e1cb63b" providerId="ADAL" clId="{EC233A50-D0FB-7D45-8B5B-36E97234FAAE}" dt="2023-02-17T16:39:49.354" v="1806" actId="1035"/>
          <ac:spMkLst>
            <pc:docMk/>
            <pc:sldMk cId="2953738879" sldId="2147471356"/>
            <ac:spMk id="60" creationId="{1A6692E1-A24E-BF6D-DE58-FD2D51E51FB5}"/>
          </ac:spMkLst>
        </pc:spChg>
        <pc:spChg chg="add del mod">
          <ac:chgData name="Patrice Nivaggioli (pnivaggi)" userId="67e5b0e0-fc7f-4496-a07e-e7b17e1cb63b" providerId="ADAL" clId="{EC233A50-D0FB-7D45-8B5B-36E97234FAAE}" dt="2023-02-17T15:30:37.057" v="1580" actId="478"/>
          <ac:spMkLst>
            <pc:docMk/>
            <pc:sldMk cId="2953738879" sldId="2147471356"/>
            <ac:spMk id="61" creationId="{5E10247D-6ED1-62E2-51A8-4490E89AF1A1}"/>
          </ac:spMkLst>
        </pc:spChg>
        <pc:spChg chg="add del mod">
          <ac:chgData name="Patrice Nivaggioli (pnivaggi)" userId="67e5b0e0-fc7f-4496-a07e-e7b17e1cb63b" providerId="ADAL" clId="{EC233A50-D0FB-7D45-8B5B-36E97234FAAE}" dt="2023-02-17T15:30:32.627" v="1579" actId="478"/>
          <ac:spMkLst>
            <pc:docMk/>
            <pc:sldMk cId="2953738879" sldId="2147471356"/>
            <ac:spMk id="63" creationId="{9C074DA0-7774-55FA-9E0F-DE9C59ECD587}"/>
          </ac:spMkLst>
        </pc:spChg>
        <pc:spChg chg="mod">
          <ac:chgData name="Patrice Nivaggioli (pnivaggi)" userId="67e5b0e0-fc7f-4496-a07e-e7b17e1cb63b" providerId="ADAL" clId="{EC233A50-D0FB-7D45-8B5B-36E97234FAAE}" dt="2023-02-17T16:09:35.123" v="1796" actId="1036"/>
          <ac:spMkLst>
            <pc:docMk/>
            <pc:sldMk cId="2953738879" sldId="2147471356"/>
            <ac:spMk id="1025" creationId="{EE6B1907-21AC-8F77-791F-7B1895CC6049}"/>
          </ac:spMkLst>
        </pc:spChg>
        <pc:spChg chg="del mod">
          <ac:chgData name="Patrice Nivaggioli (pnivaggi)" userId="67e5b0e0-fc7f-4496-a07e-e7b17e1cb63b" providerId="ADAL" clId="{EC233A50-D0FB-7D45-8B5B-36E97234FAAE}" dt="2023-02-17T16:00:35.202" v="1612" actId="478"/>
          <ac:spMkLst>
            <pc:docMk/>
            <pc:sldMk cId="2953738879" sldId="2147471356"/>
            <ac:spMk id="1027" creationId="{08E07B23-2949-4DA6-55FE-A012B5B90708}"/>
          </ac:spMkLst>
        </pc:spChg>
        <pc:spChg chg="del">
          <ac:chgData name="Patrice Nivaggioli (pnivaggi)" userId="67e5b0e0-fc7f-4496-a07e-e7b17e1cb63b" providerId="ADAL" clId="{EC233A50-D0FB-7D45-8B5B-36E97234FAAE}" dt="2023-02-17T15:05:31.720" v="1161" actId="478"/>
          <ac:spMkLst>
            <pc:docMk/>
            <pc:sldMk cId="2953738879" sldId="2147471356"/>
            <ac:spMk id="1030" creationId="{4B2D7550-6E90-EFD2-C49F-67A5374815B3}"/>
          </ac:spMkLst>
        </pc:spChg>
        <pc:spChg chg="del">
          <ac:chgData name="Patrice Nivaggioli (pnivaggi)" userId="67e5b0e0-fc7f-4496-a07e-e7b17e1cb63b" providerId="ADAL" clId="{EC233A50-D0FB-7D45-8B5B-36E97234FAAE}" dt="2023-02-17T15:05:27.898" v="1160" actId="478"/>
          <ac:spMkLst>
            <pc:docMk/>
            <pc:sldMk cId="2953738879" sldId="2147471356"/>
            <ac:spMk id="1034" creationId="{DEAD1B9F-6595-096C-BBBE-D7C797BAEAA6}"/>
          </ac:spMkLst>
        </pc:spChg>
        <pc:spChg chg="mod">
          <ac:chgData name="Patrice Nivaggioli (pnivaggi)" userId="67e5b0e0-fc7f-4496-a07e-e7b17e1cb63b" providerId="ADAL" clId="{EC233A50-D0FB-7D45-8B5B-36E97234FAAE}" dt="2023-02-17T16:39:49.354" v="1806" actId="1035"/>
          <ac:spMkLst>
            <pc:docMk/>
            <pc:sldMk cId="2953738879" sldId="2147471356"/>
            <ac:spMk id="1035" creationId="{007F5CF3-94D8-0B62-1133-51756D63DDCD}"/>
          </ac:spMkLst>
        </pc:spChg>
        <pc:spChg chg="mod">
          <ac:chgData name="Patrice Nivaggioli (pnivaggi)" userId="67e5b0e0-fc7f-4496-a07e-e7b17e1cb63b" providerId="ADAL" clId="{EC233A50-D0FB-7D45-8B5B-36E97234FAAE}" dt="2023-02-17T16:39:49.354" v="1806" actId="1035"/>
          <ac:spMkLst>
            <pc:docMk/>
            <pc:sldMk cId="2953738879" sldId="2147471356"/>
            <ac:spMk id="1037" creationId="{788410DC-30D7-33A1-C75A-B8A233A81E0F}"/>
          </ac:spMkLst>
        </pc:spChg>
        <pc:spChg chg="add del mod">
          <ac:chgData name="Patrice Nivaggioli (pnivaggi)" userId="67e5b0e0-fc7f-4496-a07e-e7b17e1cb63b" providerId="ADAL" clId="{EC233A50-D0FB-7D45-8B5B-36E97234FAAE}" dt="2023-02-17T15:29:31.109" v="1561"/>
          <ac:spMkLst>
            <pc:docMk/>
            <pc:sldMk cId="2953738879" sldId="2147471356"/>
            <ac:spMk id="1048" creationId="{64FF497B-47A6-45DA-F914-EC418341E1DA}"/>
          </ac:spMkLst>
        </pc:spChg>
        <pc:spChg chg="mod">
          <ac:chgData name="Patrice Nivaggioli (pnivaggi)" userId="67e5b0e0-fc7f-4496-a07e-e7b17e1cb63b" providerId="ADAL" clId="{EC233A50-D0FB-7D45-8B5B-36E97234FAAE}" dt="2023-02-17T16:39:49.354" v="1806" actId="1035"/>
          <ac:spMkLst>
            <pc:docMk/>
            <pc:sldMk cId="2953738879" sldId="2147471356"/>
            <ac:spMk id="1055" creationId="{C2A9E6D4-FD1C-F063-1E56-45B64CE8ED43}"/>
          </ac:spMkLst>
        </pc:spChg>
        <pc:spChg chg="mod">
          <ac:chgData name="Patrice Nivaggioli (pnivaggi)" userId="67e5b0e0-fc7f-4496-a07e-e7b17e1cb63b" providerId="ADAL" clId="{EC233A50-D0FB-7D45-8B5B-36E97234FAAE}" dt="2023-02-17T16:39:49.354" v="1806" actId="1035"/>
          <ac:spMkLst>
            <pc:docMk/>
            <pc:sldMk cId="2953738879" sldId="2147471356"/>
            <ac:spMk id="1060" creationId="{DA7963CD-6C8B-D98F-AB2B-40D1872061AC}"/>
          </ac:spMkLst>
        </pc:spChg>
        <pc:spChg chg="mod">
          <ac:chgData name="Patrice Nivaggioli (pnivaggi)" userId="67e5b0e0-fc7f-4496-a07e-e7b17e1cb63b" providerId="ADAL" clId="{EC233A50-D0FB-7D45-8B5B-36E97234FAAE}" dt="2023-02-17T16:39:49.354" v="1806" actId="1035"/>
          <ac:spMkLst>
            <pc:docMk/>
            <pc:sldMk cId="2953738879" sldId="2147471356"/>
            <ac:spMk id="1065" creationId="{A6C0C8BF-09E6-C5AA-BB2B-34502E7C05C7}"/>
          </ac:spMkLst>
        </pc:spChg>
        <pc:spChg chg="add del mod">
          <ac:chgData name="Patrice Nivaggioli (pnivaggi)" userId="67e5b0e0-fc7f-4496-a07e-e7b17e1cb63b" providerId="ADAL" clId="{EC233A50-D0FB-7D45-8B5B-36E97234FAAE}" dt="2023-02-17T16:03:20.459" v="1767" actId="478"/>
          <ac:spMkLst>
            <pc:docMk/>
            <pc:sldMk cId="2953738879" sldId="2147471356"/>
            <ac:spMk id="1073" creationId="{2B77809E-7B53-F456-26EF-2EB8AFE89292}"/>
          </ac:spMkLst>
        </pc:spChg>
        <pc:spChg chg="add del mod">
          <ac:chgData name="Patrice Nivaggioli (pnivaggi)" userId="67e5b0e0-fc7f-4496-a07e-e7b17e1cb63b" providerId="ADAL" clId="{EC233A50-D0FB-7D45-8B5B-36E97234FAAE}" dt="2023-02-17T16:05:31.284" v="1769" actId="478"/>
          <ac:spMkLst>
            <pc:docMk/>
            <pc:sldMk cId="2953738879" sldId="2147471356"/>
            <ac:spMk id="1074" creationId="{026ADF81-D090-5050-7061-AE4537AF042C}"/>
          </ac:spMkLst>
        </pc:spChg>
        <pc:spChg chg="add del mod">
          <ac:chgData name="Patrice Nivaggioli (pnivaggi)" userId="67e5b0e0-fc7f-4496-a07e-e7b17e1cb63b" providerId="ADAL" clId="{EC233A50-D0FB-7D45-8B5B-36E97234FAAE}" dt="2023-02-17T16:06:45.405" v="1788" actId="478"/>
          <ac:spMkLst>
            <pc:docMk/>
            <pc:sldMk cId="2953738879" sldId="2147471356"/>
            <ac:spMk id="1075" creationId="{69DFCBBB-4B96-5A03-CDAE-9F0490C9F694}"/>
          </ac:spMkLst>
        </pc:spChg>
        <pc:spChg chg="add del mod">
          <ac:chgData name="Patrice Nivaggioli (pnivaggi)" userId="67e5b0e0-fc7f-4496-a07e-e7b17e1cb63b" providerId="ADAL" clId="{EC233A50-D0FB-7D45-8B5B-36E97234FAAE}" dt="2023-02-17T16:09:15.266" v="1794" actId="478"/>
          <ac:spMkLst>
            <pc:docMk/>
            <pc:sldMk cId="2953738879" sldId="2147471356"/>
            <ac:spMk id="1076" creationId="{169A7224-A9FF-6552-7A15-3FCECA05FC30}"/>
          </ac:spMkLst>
        </pc:spChg>
        <pc:spChg chg="add mod">
          <ac:chgData name="Patrice Nivaggioli (pnivaggi)" userId="67e5b0e0-fc7f-4496-a07e-e7b17e1cb63b" providerId="ADAL" clId="{EC233A50-D0FB-7D45-8B5B-36E97234FAAE}" dt="2023-02-17T16:09:54.883" v="1798" actId="167"/>
          <ac:spMkLst>
            <pc:docMk/>
            <pc:sldMk cId="2953738879" sldId="2147471356"/>
            <ac:spMk id="1077" creationId="{C27B81C3-802B-7D74-2136-BD96BAE71D6A}"/>
          </ac:spMkLst>
        </pc:spChg>
        <pc:grpChg chg="add mod">
          <ac:chgData name="Patrice Nivaggioli (pnivaggi)" userId="67e5b0e0-fc7f-4496-a07e-e7b17e1cb63b" providerId="ADAL" clId="{EC233A50-D0FB-7D45-8B5B-36E97234FAAE}" dt="2023-02-17T16:39:49.354" v="1806" actId="1035"/>
          <ac:grpSpMkLst>
            <pc:docMk/>
            <pc:sldMk cId="2953738879" sldId="2147471356"/>
            <ac:grpSpMk id="13" creationId="{EECFF50B-1A21-9BF6-8A45-294B42526376}"/>
          </ac:grpSpMkLst>
        </pc:grpChg>
        <pc:grpChg chg="add mod">
          <ac:chgData name="Patrice Nivaggioli (pnivaggi)" userId="67e5b0e0-fc7f-4496-a07e-e7b17e1cb63b" providerId="ADAL" clId="{EC233A50-D0FB-7D45-8B5B-36E97234FAAE}" dt="2023-02-17T16:39:49.354" v="1806" actId="1035"/>
          <ac:grpSpMkLst>
            <pc:docMk/>
            <pc:sldMk cId="2953738879" sldId="2147471356"/>
            <ac:grpSpMk id="14" creationId="{CFE9593E-033F-1780-1CBE-ABA00B20641C}"/>
          </ac:grpSpMkLst>
        </pc:grpChg>
        <pc:grpChg chg="add mod">
          <ac:chgData name="Patrice Nivaggioli (pnivaggi)" userId="67e5b0e0-fc7f-4496-a07e-e7b17e1cb63b" providerId="ADAL" clId="{EC233A50-D0FB-7D45-8B5B-36E97234FAAE}" dt="2023-02-17T16:39:49.354" v="1806" actId="1035"/>
          <ac:grpSpMkLst>
            <pc:docMk/>
            <pc:sldMk cId="2953738879" sldId="2147471356"/>
            <ac:grpSpMk id="18" creationId="{71694D24-B23C-999B-6D7D-2EE19A4FD6A1}"/>
          </ac:grpSpMkLst>
        </pc:grpChg>
        <pc:grpChg chg="add mod">
          <ac:chgData name="Patrice Nivaggioli (pnivaggi)" userId="67e5b0e0-fc7f-4496-a07e-e7b17e1cb63b" providerId="ADAL" clId="{EC233A50-D0FB-7D45-8B5B-36E97234FAAE}" dt="2023-02-17T16:39:49.354" v="1806" actId="1035"/>
          <ac:grpSpMkLst>
            <pc:docMk/>
            <pc:sldMk cId="2953738879" sldId="2147471356"/>
            <ac:grpSpMk id="22" creationId="{F293A121-B231-F105-6972-AAECE25D91EF}"/>
          </ac:grpSpMkLst>
        </pc:grpChg>
        <pc:grpChg chg="mod">
          <ac:chgData name="Patrice Nivaggioli (pnivaggi)" userId="67e5b0e0-fc7f-4496-a07e-e7b17e1cb63b" providerId="ADAL" clId="{EC233A50-D0FB-7D45-8B5B-36E97234FAAE}" dt="2023-02-17T16:09:35.123" v="1796" actId="1036"/>
          <ac:grpSpMkLst>
            <pc:docMk/>
            <pc:sldMk cId="2953738879" sldId="2147471356"/>
            <ac:grpSpMk id="40" creationId="{9469D2AB-569A-4D65-AA87-58506C3B2E18}"/>
          </ac:grpSpMkLst>
        </pc:grpChg>
        <pc:grpChg chg="add mod">
          <ac:chgData name="Patrice Nivaggioli (pnivaggi)" userId="67e5b0e0-fc7f-4496-a07e-e7b17e1cb63b" providerId="ADAL" clId="{EC233A50-D0FB-7D45-8B5B-36E97234FAAE}" dt="2023-02-17T16:39:49.354" v="1806" actId="1035"/>
          <ac:grpSpMkLst>
            <pc:docMk/>
            <pc:sldMk cId="2953738879" sldId="2147471356"/>
            <ac:grpSpMk id="47" creationId="{6D89E386-0DDD-69F7-1CA0-BD52EB116159}"/>
          </ac:grpSpMkLst>
        </pc:grpChg>
        <pc:grpChg chg="add mod">
          <ac:chgData name="Patrice Nivaggioli (pnivaggi)" userId="67e5b0e0-fc7f-4496-a07e-e7b17e1cb63b" providerId="ADAL" clId="{EC233A50-D0FB-7D45-8B5B-36E97234FAAE}" dt="2023-02-17T16:39:49.354" v="1806" actId="1035"/>
          <ac:grpSpMkLst>
            <pc:docMk/>
            <pc:sldMk cId="2953738879" sldId="2147471356"/>
            <ac:grpSpMk id="51" creationId="{DFAF0555-9C62-980D-3AF4-0FBB1EB11F8A}"/>
          </ac:grpSpMkLst>
        </pc:grpChg>
        <pc:grpChg chg="add mod">
          <ac:chgData name="Patrice Nivaggioli (pnivaggi)" userId="67e5b0e0-fc7f-4496-a07e-e7b17e1cb63b" providerId="ADAL" clId="{EC233A50-D0FB-7D45-8B5B-36E97234FAAE}" dt="2023-02-17T16:39:49.354" v="1806" actId="1035"/>
          <ac:grpSpMkLst>
            <pc:docMk/>
            <pc:sldMk cId="2953738879" sldId="2147471356"/>
            <ac:grpSpMk id="1051" creationId="{DD3EEB26-52FB-EA43-6B27-2E0D1754B66D}"/>
          </ac:grpSpMkLst>
        </pc:grpChg>
        <pc:grpChg chg="add mod">
          <ac:chgData name="Patrice Nivaggioli (pnivaggi)" userId="67e5b0e0-fc7f-4496-a07e-e7b17e1cb63b" providerId="ADAL" clId="{EC233A50-D0FB-7D45-8B5B-36E97234FAAE}" dt="2023-02-17T16:39:49.354" v="1806" actId="1035"/>
          <ac:grpSpMkLst>
            <pc:docMk/>
            <pc:sldMk cId="2953738879" sldId="2147471356"/>
            <ac:grpSpMk id="1052" creationId="{3F296744-5799-6FBA-86FB-DA3D0803B165}"/>
          </ac:grpSpMkLst>
        </pc:grpChg>
        <pc:grpChg chg="add mod">
          <ac:chgData name="Patrice Nivaggioli (pnivaggi)" userId="67e5b0e0-fc7f-4496-a07e-e7b17e1cb63b" providerId="ADAL" clId="{EC233A50-D0FB-7D45-8B5B-36E97234FAAE}" dt="2023-02-17T16:39:49.354" v="1806" actId="1035"/>
          <ac:grpSpMkLst>
            <pc:docMk/>
            <pc:sldMk cId="2953738879" sldId="2147471356"/>
            <ac:grpSpMk id="1057" creationId="{7FBC374E-2787-4621-7D99-7E485551FB12}"/>
          </ac:grpSpMkLst>
        </pc:grpChg>
        <pc:grpChg chg="add mod">
          <ac:chgData name="Patrice Nivaggioli (pnivaggi)" userId="67e5b0e0-fc7f-4496-a07e-e7b17e1cb63b" providerId="ADAL" clId="{EC233A50-D0FB-7D45-8B5B-36E97234FAAE}" dt="2023-02-17T16:39:49.354" v="1806" actId="1035"/>
          <ac:grpSpMkLst>
            <pc:docMk/>
            <pc:sldMk cId="2953738879" sldId="2147471356"/>
            <ac:grpSpMk id="1062" creationId="{FEF05A90-0CFF-46BD-334F-EC823BAEE58B}"/>
          </ac:grpSpMkLst>
        </pc:grpChg>
        <pc:picChg chg="add mod">
          <ac:chgData name="Patrice Nivaggioli (pnivaggi)" userId="67e5b0e0-fc7f-4496-a07e-e7b17e1cb63b" providerId="ADAL" clId="{EC233A50-D0FB-7D45-8B5B-36E97234FAAE}" dt="2023-02-17T16:09:35.123" v="1796" actId="1036"/>
          <ac:picMkLst>
            <pc:docMk/>
            <pc:sldMk cId="2953738879" sldId="2147471356"/>
            <ac:picMk id="6" creationId="{63555DBA-894E-F97F-7207-4A62AF452C45}"/>
          </ac:picMkLst>
        </pc:picChg>
        <pc:picChg chg="mod">
          <ac:chgData name="Patrice Nivaggioli (pnivaggi)" userId="67e5b0e0-fc7f-4496-a07e-e7b17e1cb63b" providerId="ADAL" clId="{EC233A50-D0FB-7D45-8B5B-36E97234FAAE}" dt="2023-02-17T16:39:49.354" v="1806" actId="1035"/>
          <ac:picMkLst>
            <pc:docMk/>
            <pc:sldMk cId="2953738879" sldId="2147471356"/>
            <ac:picMk id="15" creationId="{54547CF3-5D5E-7331-BF4E-C33191974849}"/>
          </ac:picMkLst>
        </pc:picChg>
        <pc:picChg chg="mod">
          <ac:chgData name="Patrice Nivaggioli (pnivaggi)" userId="67e5b0e0-fc7f-4496-a07e-e7b17e1cb63b" providerId="ADAL" clId="{EC233A50-D0FB-7D45-8B5B-36E97234FAAE}" dt="2023-02-17T16:39:49.354" v="1806" actId="1035"/>
          <ac:picMkLst>
            <pc:docMk/>
            <pc:sldMk cId="2953738879" sldId="2147471356"/>
            <ac:picMk id="16" creationId="{DE2729E0-9D0B-89F3-56CE-3078050657EA}"/>
          </ac:picMkLst>
        </pc:picChg>
        <pc:picChg chg="mod">
          <ac:chgData name="Patrice Nivaggioli (pnivaggi)" userId="67e5b0e0-fc7f-4496-a07e-e7b17e1cb63b" providerId="ADAL" clId="{EC233A50-D0FB-7D45-8B5B-36E97234FAAE}" dt="2023-02-17T16:39:49.354" v="1806" actId="1035"/>
          <ac:picMkLst>
            <pc:docMk/>
            <pc:sldMk cId="2953738879" sldId="2147471356"/>
            <ac:picMk id="17" creationId="{81068DDA-C14C-0FAC-0691-16F1DB305477}"/>
          </ac:picMkLst>
        </pc:picChg>
        <pc:picChg chg="mod">
          <ac:chgData name="Patrice Nivaggioli (pnivaggi)" userId="67e5b0e0-fc7f-4496-a07e-e7b17e1cb63b" providerId="ADAL" clId="{EC233A50-D0FB-7D45-8B5B-36E97234FAAE}" dt="2023-02-17T16:39:49.354" v="1806" actId="1035"/>
          <ac:picMkLst>
            <pc:docMk/>
            <pc:sldMk cId="2953738879" sldId="2147471356"/>
            <ac:picMk id="19" creationId="{210D4B5A-EEF7-8885-6931-3361A4DF8D0E}"/>
          </ac:picMkLst>
        </pc:picChg>
        <pc:picChg chg="mod">
          <ac:chgData name="Patrice Nivaggioli (pnivaggi)" userId="67e5b0e0-fc7f-4496-a07e-e7b17e1cb63b" providerId="ADAL" clId="{EC233A50-D0FB-7D45-8B5B-36E97234FAAE}" dt="2023-02-17T16:39:49.354" v="1806" actId="1035"/>
          <ac:picMkLst>
            <pc:docMk/>
            <pc:sldMk cId="2953738879" sldId="2147471356"/>
            <ac:picMk id="20" creationId="{D31739FB-05EF-01DB-B99F-B83279690CA3}"/>
          </ac:picMkLst>
        </pc:picChg>
        <pc:picChg chg="mod">
          <ac:chgData name="Patrice Nivaggioli (pnivaggi)" userId="67e5b0e0-fc7f-4496-a07e-e7b17e1cb63b" providerId="ADAL" clId="{EC233A50-D0FB-7D45-8B5B-36E97234FAAE}" dt="2023-02-17T16:39:49.354" v="1806" actId="1035"/>
          <ac:picMkLst>
            <pc:docMk/>
            <pc:sldMk cId="2953738879" sldId="2147471356"/>
            <ac:picMk id="21" creationId="{D403C34C-92A4-CAFD-CFD7-173FAC86E0C7}"/>
          </ac:picMkLst>
        </pc:picChg>
        <pc:picChg chg="mod">
          <ac:chgData name="Patrice Nivaggioli (pnivaggi)" userId="67e5b0e0-fc7f-4496-a07e-e7b17e1cb63b" providerId="ADAL" clId="{EC233A50-D0FB-7D45-8B5B-36E97234FAAE}" dt="2023-02-17T16:39:49.354" v="1806" actId="1035"/>
          <ac:picMkLst>
            <pc:docMk/>
            <pc:sldMk cId="2953738879" sldId="2147471356"/>
            <ac:picMk id="23" creationId="{9516EC8F-42DD-504D-6671-0352E979B79C}"/>
          </ac:picMkLst>
        </pc:picChg>
        <pc:picChg chg="mod">
          <ac:chgData name="Patrice Nivaggioli (pnivaggi)" userId="67e5b0e0-fc7f-4496-a07e-e7b17e1cb63b" providerId="ADAL" clId="{EC233A50-D0FB-7D45-8B5B-36E97234FAAE}" dt="2023-02-17T16:39:49.354" v="1806" actId="1035"/>
          <ac:picMkLst>
            <pc:docMk/>
            <pc:sldMk cId="2953738879" sldId="2147471356"/>
            <ac:picMk id="24" creationId="{89499CC8-852F-95EF-66DD-D4FD238DC3BF}"/>
          </ac:picMkLst>
        </pc:picChg>
        <pc:picChg chg="del mod">
          <ac:chgData name="Patrice Nivaggioli (pnivaggi)" userId="67e5b0e0-fc7f-4496-a07e-e7b17e1cb63b" providerId="ADAL" clId="{EC233A50-D0FB-7D45-8B5B-36E97234FAAE}" dt="2023-02-17T15:23:37.370" v="1475" actId="478"/>
          <ac:picMkLst>
            <pc:docMk/>
            <pc:sldMk cId="2953738879" sldId="2147471356"/>
            <ac:picMk id="26" creationId="{9DD0A36F-78D3-BBA7-321A-5C2D710A2F01}"/>
          </ac:picMkLst>
        </pc:picChg>
        <pc:picChg chg="del mod">
          <ac:chgData name="Patrice Nivaggioli (pnivaggi)" userId="67e5b0e0-fc7f-4496-a07e-e7b17e1cb63b" providerId="ADAL" clId="{EC233A50-D0FB-7D45-8B5B-36E97234FAAE}" dt="2023-02-17T15:23:37.370" v="1475" actId="478"/>
          <ac:picMkLst>
            <pc:docMk/>
            <pc:sldMk cId="2953738879" sldId="2147471356"/>
            <ac:picMk id="28" creationId="{B4BB9BA6-8F15-1303-5013-3FACA2FA6845}"/>
          </ac:picMkLst>
        </pc:picChg>
        <pc:picChg chg="del mod">
          <ac:chgData name="Patrice Nivaggioli (pnivaggi)" userId="67e5b0e0-fc7f-4496-a07e-e7b17e1cb63b" providerId="ADAL" clId="{EC233A50-D0FB-7D45-8B5B-36E97234FAAE}" dt="2023-02-17T15:23:37.370" v="1475" actId="478"/>
          <ac:picMkLst>
            <pc:docMk/>
            <pc:sldMk cId="2953738879" sldId="2147471356"/>
            <ac:picMk id="29" creationId="{09030B8B-6433-C705-9849-39E4AB5FE045}"/>
          </ac:picMkLst>
        </pc:picChg>
        <pc:picChg chg="del mod">
          <ac:chgData name="Patrice Nivaggioli (pnivaggi)" userId="67e5b0e0-fc7f-4496-a07e-e7b17e1cb63b" providerId="ADAL" clId="{EC233A50-D0FB-7D45-8B5B-36E97234FAAE}" dt="2023-02-17T16:00:55.589" v="1615" actId="478"/>
          <ac:picMkLst>
            <pc:docMk/>
            <pc:sldMk cId="2953738879" sldId="2147471356"/>
            <ac:picMk id="30" creationId="{9CF89A44-A54E-72C7-D914-E4A3E4F27F8F}"/>
          </ac:picMkLst>
        </pc:picChg>
        <pc:picChg chg="del mod">
          <ac:chgData name="Patrice Nivaggioli (pnivaggi)" userId="67e5b0e0-fc7f-4496-a07e-e7b17e1cb63b" providerId="ADAL" clId="{EC233A50-D0FB-7D45-8B5B-36E97234FAAE}" dt="2023-02-17T16:00:53.203" v="1614" actId="478"/>
          <ac:picMkLst>
            <pc:docMk/>
            <pc:sldMk cId="2953738879" sldId="2147471356"/>
            <ac:picMk id="32" creationId="{6BFC4076-D09A-2250-2942-23415463E689}"/>
          </ac:picMkLst>
        </pc:picChg>
        <pc:picChg chg="mod">
          <ac:chgData name="Patrice Nivaggioli (pnivaggi)" userId="67e5b0e0-fc7f-4496-a07e-e7b17e1cb63b" providerId="ADAL" clId="{EC233A50-D0FB-7D45-8B5B-36E97234FAAE}" dt="2023-02-17T16:09:35.123" v="1796" actId="1036"/>
          <ac:picMkLst>
            <pc:docMk/>
            <pc:sldMk cId="2953738879" sldId="2147471356"/>
            <ac:picMk id="34" creationId="{16DCA114-8AB6-C8F4-AE36-5AAAE4923ECC}"/>
          </ac:picMkLst>
        </pc:picChg>
        <pc:picChg chg="mod">
          <ac:chgData name="Patrice Nivaggioli (pnivaggi)" userId="67e5b0e0-fc7f-4496-a07e-e7b17e1cb63b" providerId="ADAL" clId="{EC233A50-D0FB-7D45-8B5B-36E97234FAAE}" dt="2023-02-17T16:09:35.123" v="1796" actId="1036"/>
          <ac:picMkLst>
            <pc:docMk/>
            <pc:sldMk cId="2953738879" sldId="2147471356"/>
            <ac:picMk id="36" creationId="{A88F80D1-7EDD-C892-1444-DBA5F6C8AFD7}"/>
          </ac:picMkLst>
        </pc:picChg>
        <pc:picChg chg="mod">
          <ac:chgData name="Patrice Nivaggioli (pnivaggi)" userId="67e5b0e0-fc7f-4496-a07e-e7b17e1cb63b" providerId="ADAL" clId="{EC233A50-D0FB-7D45-8B5B-36E97234FAAE}" dt="2023-02-17T16:09:35.123" v="1796" actId="1036"/>
          <ac:picMkLst>
            <pc:docMk/>
            <pc:sldMk cId="2953738879" sldId="2147471356"/>
            <ac:picMk id="38" creationId="{302934C3-22D3-9F54-5194-05CFBAF20142}"/>
          </ac:picMkLst>
        </pc:picChg>
        <pc:picChg chg="mod">
          <ac:chgData name="Patrice Nivaggioli (pnivaggi)" userId="67e5b0e0-fc7f-4496-a07e-e7b17e1cb63b" providerId="ADAL" clId="{EC233A50-D0FB-7D45-8B5B-36E97234FAAE}" dt="2023-02-17T16:09:35.123" v="1796" actId="1036"/>
          <ac:picMkLst>
            <pc:docMk/>
            <pc:sldMk cId="2953738879" sldId="2147471356"/>
            <ac:picMk id="41" creationId="{6814A424-97C2-4457-1559-D492F77CAE54}"/>
          </ac:picMkLst>
        </pc:picChg>
        <pc:picChg chg="mod">
          <ac:chgData name="Patrice Nivaggioli (pnivaggi)" userId="67e5b0e0-fc7f-4496-a07e-e7b17e1cb63b" providerId="ADAL" clId="{EC233A50-D0FB-7D45-8B5B-36E97234FAAE}" dt="2023-02-17T16:39:49.354" v="1806" actId="1035"/>
          <ac:picMkLst>
            <pc:docMk/>
            <pc:sldMk cId="2953738879" sldId="2147471356"/>
            <ac:picMk id="42" creationId="{07B288F0-BD9A-ACAB-83E7-BF9486396AD5}"/>
          </ac:picMkLst>
        </pc:picChg>
        <pc:picChg chg="mod">
          <ac:chgData name="Patrice Nivaggioli (pnivaggi)" userId="67e5b0e0-fc7f-4496-a07e-e7b17e1cb63b" providerId="ADAL" clId="{EC233A50-D0FB-7D45-8B5B-36E97234FAAE}" dt="2023-02-17T16:39:49.354" v="1806" actId="1035"/>
          <ac:picMkLst>
            <pc:docMk/>
            <pc:sldMk cId="2953738879" sldId="2147471356"/>
            <ac:picMk id="48" creationId="{13852CF2-503E-BD58-3929-1B20218EBB2D}"/>
          </ac:picMkLst>
        </pc:picChg>
        <pc:picChg chg="mod">
          <ac:chgData name="Patrice Nivaggioli (pnivaggi)" userId="67e5b0e0-fc7f-4496-a07e-e7b17e1cb63b" providerId="ADAL" clId="{EC233A50-D0FB-7D45-8B5B-36E97234FAAE}" dt="2023-02-17T16:39:49.354" v="1806" actId="1035"/>
          <ac:picMkLst>
            <pc:docMk/>
            <pc:sldMk cId="2953738879" sldId="2147471356"/>
            <ac:picMk id="49" creationId="{3AC2402E-BB3A-8D47-895D-3F595E98B674}"/>
          </ac:picMkLst>
        </pc:picChg>
        <pc:picChg chg="mod">
          <ac:chgData name="Patrice Nivaggioli (pnivaggi)" userId="67e5b0e0-fc7f-4496-a07e-e7b17e1cb63b" providerId="ADAL" clId="{EC233A50-D0FB-7D45-8B5B-36E97234FAAE}" dt="2023-02-17T16:39:49.354" v="1806" actId="1035"/>
          <ac:picMkLst>
            <pc:docMk/>
            <pc:sldMk cId="2953738879" sldId="2147471356"/>
            <ac:picMk id="50" creationId="{A75B7D66-5704-FAFD-E807-583C78D1E038}"/>
          </ac:picMkLst>
        </pc:picChg>
        <pc:picChg chg="mod">
          <ac:chgData name="Patrice Nivaggioli (pnivaggi)" userId="67e5b0e0-fc7f-4496-a07e-e7b17e1cb63b" providerId="ADAL" clId="{EC233A50-D0FB-7D45-8B5B-36E97234FAAE}" dt="2023-02-17T16:39:49.354" v="1806" actId="1035"/>
          <ac:picMkLst>
            <pc:docMk/>
            <pc:sldMk cId="2953738879" sldId="2147471356"/>
            <ac:picMk id="52" creationId="{F588ADE4-51F0-9FAB-2016-CA27766E1A04}"/>
          </ac:picMkLst>
        </pc:picChg>
        <pc:picChg chg="mod">
          <ac:chgData name="Patrice Nivaggioli (pnivaggi)" userId="67e5b0e0-fc7f-4496-a07e-e7b17e1cb63b" providerId="ADAL" clId="{EC233A50-D0FB-7D45-8B5B-36E97234FAAE}" dt="2023-02-17T16:39:49.354" v="1806" actId="1035"/>
          <ac:picMkLst>
            <pc:docMk/>
            <pc:sldMk cId="2953738879" sldId="2147471356"/>
            <ac:picMk id="53" creationId="{61006733-94B7-C76E-8131-7F65DB812284}"/>
          </ac:picMkLst>
        </pc:picChg>
        <pc:picChg chg="mod">
          <ac:chgData name="Patrice Nivaggioli (pnivaggi)" userId="67e5b0e0-fc7f-4496-a07e-e7b17e1cb63b" providerId="ADAL" clId="{EC233A50-D0FB-7D45-8B5B-36E97234FAAE}" dt="2023-02-17T16:39:49.354" v="1806" actId="1035"/>
          <ac:picMkLst>
            <pc:docMk/>
            <pc:sldMk cId="2953738879" sldId="2147471356"/>
            <ac:picMk id="55" creationId="{C5E63456-1AD0-C3CB-ED1F-B18E2C3A6DDD}"/>
          </ac:picMkLst>
        </pc:picChg>
        <pc:picChg chg="del">
          <ac:chgData name="Patrice Nivaggioli (pnivaggi)" userId="67e5b0e0-fc7f-4496-a07e-e7b17e1cb63b" providerId="ADAL" clId="{EC233A50-D0FB-7D45-8B5B-36E97234FAAE}" dt="2023-02-17T15:05:27.898" v="1160" actId="478"/>
          <ac:picMkLst>
            <pc:docMk/>
            <pc:sldMk cId="2953738879" sldId="2147471356"/>
            <ac:picMk id="1029" creationId="{660D8DF8-D354-496D-5DE5-1C532CCC2CEC}"/>
          </ac:picMkLst>
        </pc:picChg>
        <pc:picChg chg="del mod">
          <ac:chgData name="Patrice Nivaggioli (pnivaggi)" userId="67e5b0e0-fc7f-4496-a07e-e7b17e1cb63b" providerId="ADAL" clId="{EC233A50-D0FB-7D45-8B5B-36E97234FAAE}" dt="2023-02-17T15:22:34.584" v="1453" actId="478"/>
          <ac:picMkLst>
            <pc:docMk/>
            <pc:sldMk cId="2953738879" sldId="2147471356"/>
            <ac:picMk id="1036" creationId="{2BF2D5F0-2668-7E98-6CA5-3BC9508E3E9D}"/>
          </ac:picMkLst>
        </pc:picChg>
        <pc:picChg chg="del mod">
          <ac:chgData name="Patrice Nivaggioli (pnivaggi)" userId="67e5b0e0-fc7f-4496-a07e-e7b17e1cb63b" providerId="ADAL" clId="{EC233A50-D0FB-7D45-8B5B-36E97234FAAE}" dt="2023-02-17T15:22:33.078" v="1452" actId="478"/>
          <ac:picMkLst>
            <pc:docMk/>
            <pc:sldMk cId="2953738879" sldId="2147471356"/>
            <ac:picMk id="1038" creationId="{9815D12F-1373-7019-3A3C-6C55A04480AA}"/>
          </ac:picMkLst>
        </pc:picChg>
        <pc:picChg chg="del mod">
          <ac:chgData name="Patrice Nivaggioli (pnivaggi)" userId="67e5b0e0-fc7f-4496-a07e-e7b17e1cb63b" providerId="ADAL" clId="{EC233A50-D0FB-7D45-8B5B-36E97234FAAE}" dt="2023-02-17T15:22:31.668" v="1451" actId="478"/>
          <ac:picMkLst>
            <pc:docMk/>
            <pc:sldMk cId="2953738879" sldId="2147471356"/>
            <ac:picMk id="1039" creationId="{6690892A-50C9-9B72-4F7A-2E3D1D3AC9F2}"/>
          </ac:picMkLst>
        </pc:picChg>
        <pc:picChg chg="add mod">
          <ac:chgData name="Patrice Nivaggioli (pnivaggi)" userId="67e5b0e0-fc7f-4496-a07e-e7b17e1cb63b" providerId="ADAL" clId="{EC233A50-D0FB-7D45-8B5B-36E97234FAAE}" dt="2023-02-17T16:09:35.123" v="1796" actId="1036"/>
          <ac:picMkLst>
            <pc:docMk/>
            <pc:sldMk cId="2953738879" sldId="2147471356"/>
            <ac:picMk id="2050" creationId="{749D108B-C77E-8779-230F-BEB41D6EA7FB}"/>
          </ac:picMkLst>
        </pc:picChg>
        <pc:picChg chg="add mod">
          <ac:chgData name="Patrice Nivaggioli (pnivaggi)" userId="67e5b0e0-fc7f-4496-a07e-e7b17e1cb63b" providerId="ADAL" clId="{EC233A50-D0FB-7D45-8B5B-36E97234FAAE}" dt="2023-02-17T15:11:00.094" v="1324" actId="1076"/>
          <ac:picMkLst>
            <pc:docMk/>
            <pc:sldMk cId="2953738879" sldId="2147471356"/>
            <ac:picMk id="2052" creationId="{0A605223-1C58-65DE-A0A6-5B9C687242B4}"/>
          </ac:picMkLst>
        </pc:picChg>
        <pc:picChg chg="add mod">
          <ac:chgData name="Patrice Nivaggioli (pnivaggi)" userId="67e5b0e0-fc7f-4496-a07e-e7b17e1cb63b" providerId="ADAL" clId="{EC233A50-D0FB-7D45-8B5B-36E97234FAAE}" dt="2023-02-17T16:39:49.354" v="1806" actId="1035"/>
          <ac:picMkLst>
            <pc:docMk/>
            <pc:sldMk cId="2953738879" sldId="2147471356"/>
            <ac:picMk id="2054" creationId="{7E26CFBC-2816-8417-0CD2-6A1B2BB1BE10}"/>
          </ac:picMkLst>
        </pc:picChg>
        <pc:picChg chg="add mod">
          <ac:chgData name="Patrice Nivaggioli (pnivaggi)" userId="67e5b0e0-fc7f-4496-a07e-e7b17e1cb63b" providerId="ADAL" clId="{EC233A50-D0FB-7D45-8B5B-36E97234FAAE}" dt="2023-02-17T16:39:49.354" v="1806" actId="1035"/>
          <ac:picMkLst>
            <pc:docMk/>
            <pc:sldMk cId="2953738879" sldId="2147471356"/>
            <ac:picMk id="2056" creationId="{C6A495F3-546E-8DCA-EF93-368C1D917EE2}"/>
          </ac:picMkLst>
        </pc:picChg>
        <pc:picChg chg="add mod">
          <ac:chgData name="Patrice Nivaggioli (pnivaggi)" userId="67e5b0e0-fc7f-4496-a07e-e7b17e1cb63b" providerId="ADAL" clId="{EC233A50-D0FB-7D45-8B5B-36E97234FAAE}" dt="2023-02-17T16:39:49.354" v="1806" actId="1035"/>
          <ac:picMkLst>
            <pc:docMk/>
            <pc:sldMk cId="2953738879" sldId="2147471356"/>
            <ac:picMk id="2058" creationId="{2D1D7099-9597-3A78-C9B8-A05D520AC120}"/>
          </ac:picMkLst>
        </pc:picChg>
        <pc:cxnChg chg="mod">
          <ac:chgData name="Patrice Nivaggioli (pnivaggi)" userId="67e5b0e0-fc7f-4496-a07e-e7b17e1cb63b" providerId="ADAL" clId="{EC233A50-D0FB-7D45-8B5B-36E97234FAAE}" dt="2023-02-17T16:09:35.123" v="1796" actId="1036"/>
          <ac:cxnSpMkLst>
            <pc:docMk/>
            <pc:sldMk cId="2953738879" sldId="2147471356"/>
            <ac:cxnSpMk id="43" creationId="{93B8D690-32BC-E2FD-CC79-033489C02CB9}"/>
          </ac:cxnSpMkLst>
        </pc:cxnChg>
        <pc:cxnChg chg="mod">
          <ac:chgData name="Patrice Nivaggioli (pnivaggi)" userId="67e5b0e0-fc7f-4496-a07e-e7b17e1cb63b" providerId="ADAL" clId="{EC233A50-D0FB-7D45-8B5B-36E97234FAAE}" dt="2023-02-17T16:09:35.123" v="1796" actId="1036"/>
          <ac:cxnSpMkLst>
            <pc:docMk/>
            <pc:sldMk cId="2953738879" sldId="2147471356"/>
            <ac:cxnSpMk id="44" creationId="{96DB69A3-257D-CB66-8350-DF5B698441B0}"/>
          </ac:cxnSpMkLst>
        </pc:cxnChg>
        <pc:cxnChg chg="mod">
          <ac:chgData name="Patrice Nivaggioli (pnivaggi)" userId="67e5b0e0-fc7f-4496-a07e-e7b17e1cb63b" providerId="ADAL" clId="{EC233A50-D0FB-7D45-8B5B-36E97234FAAE}" dt="2023-02-17T16:09:35.123" v="1796" actId="1036"/>
          <ac:cxnSpMkLst>
            <pc:docMk/>
            <pc:sldMk cId="2953738879" sldId="2147471356"/>
            <ac:cxnSpMk id="54" creationId="{BC6DD132-E7CB-014A-4CD5-5D6FC8BE3BDF}"/>
          </ac:cxnSpMkLst>
        </pc:cxnChg>
        <pc:cxnChg chg="mod">
          <ac:chgData name="Patrice Nivaggioli (pnivaggi)" userId="67e5b0e0-fc7f-4496-a07e-e7b17e1cb63b" providerId="ADAL" clId="{EC233A50-D0FB-7D45-8B5B-36E97234FAAE}" dt="2023-02-17T16:09:35.123" v="1796" actId="1036"/>
          <ac:cxnSpMkLst>
            <pc:docMk/>
            <pc:sldMk cId="2953738879" sldId="2147471356"/>
            <ac:cxnSpMk id="62" creationId="{DABC3C3E-CB7F-BE2A-FBF9-D4BADC430E19}"/>
          </ac:cxnSpMkLst>
        </pc:cxnChg>
        <pc:cxnChg chg="mod">
          <ac:chgData name="Patrice Nivaggioli (pnivaggi)" userId="67e5b0e0-fc7f-4496-a07e-e7b17e1cb63b" providerId="ADAL" clId="{EC233A50-D0FB-7D45-8B5B-36E97234FAAE}" dt="2023-02-17T16:09:35.123" v="1796" actId="1036"/>
          <ac:cxnSpMkLst>
            <pc:docMk/>
            <pc:sldMk cId="2953738879" sldId="2147471356"/>
            <ac:cxnSpMk id="1024" creationId="{03D28731-B8C5-F7C6-4291-931F47295EC0}"/>
          </ac:cxnSpMkLst>
        </pc:cxnChg>
        <pc:cxnChg chg="del mod">
          <ac:chgData name="Patrice Nivaggioli (pnivaggi)" userId="67e5b0e0-fc7f-4496-a07e-e7b17e1cb63b" providerId="ADAL" clId="{EC233A50-D0FB-7D45-8B5B-36E97234FAAE}" dt="2023-02-17T16:00:35.202" v="1612" actId="478"/>
          <ac:cxnSpMkLst>
            <pc:docMk/>
            <pc:sldMk cId="2953738879" sldId="2147471356"/>
            <ac:cxnSpMk id="1028" creationId="{DC62ADBC-B008-8B10-F8F2-69B274CBF6F2}"/>
          </ac:cxnSpMkLst>
        </pc:cxnChg>
        <pc:cxnChg chg="del">
          <ac:chgData name="Patrice Nivaggioli (pnivaggi)" userId="67e5b0e0-fc7f-4496-a07e-e7b17e1cb63b" providerId="ADAL" clId="{EC233A50-D0FB-7D45-8B5B-36E97234FAAE}" dt="2023-02-17T15:05:31.720" v="1161" actId="478"/>
          <ac:cxnSpMkLst>
            <pc:docMk/>
            <pc:sldMk cId="2953738879" sldId="2147471356"/>
            <ac:cxnSpMk id="1031" creationId="{72FFA0FC-E428-B7B6-5B80-A4E47E488331}"/>
          </ac:cxnSpMkLst>
        </pc:cxnChg>
        <pc:cxnChg chg="add mod">
          <ac:chgData name="Patrice Nivaggioli (pnivaggi)" userId="67e5b0e0-fc7f-4496-a07e-e7b17e1cb63b" providerId="ADAL" clId="{EC233A50-D0FB-7D45-8B5B-36E97234FAAE}" dt="2023-02-17T16:39:49.354" v="1806" actId="1035"/>
          <ac:cxnSpMkLst>
            <pc:docMk/>
            <pc:sldMk cId="2953738879" sldId="2147471356"/>
            <ac:cxnSpMk id="1032" creationId="{AFA5A6C5-04DB-FC8F-9E81-D7D3746A0E22}"/>
          </ac:cxnSpMkLst>
        </pc:cxnChg>
        <pc:cxnChg chg="add mod">
          <ac:chgData name="Patrice Nivaggioli (pnivaggi)" userId="67e5b0e0-fc7f-4496-a07e-e7b17e1cb63b" providerId="ADAL" clId="{EC233A50-D0FB-7D45-8B5B-36E97234FAAE}" dt="2023-02-17T16:39:49.354" v="1806" actId="1035"/>
          <ac:cxnSpMkLst>
            <pc:docMk/>
            <pc:sldMk cId="2953738879" sldId="2147471356"/>
            <ac:cxnSpMk id="1040" creationId="{2E29A5FF-9E83-5881-A5DB-3C79345261A6}"/>
          </ac:cxnSpMkLst>
        </pc:cxnChg>
        <pc:cxnChg chg="add mod">
          <ac:chgData name="Patrice Nivaggioli (pnivaggi)" userId="67e5b0e0-fc7f-4496-a07e-e7b17e1cb63b" providerId="ADAL" clId="{EC233A50-D0FB-7D45-8B5B-36E97234FAAE}" dt="2023-02-17T16:39:49.354" v="1806" actId="1035"/>
          <ac:cxnSpMkLst>
            <pc:docMk/>
            <pc:sldMk cId="2953738879" sldId="2147471356"/>
            <ac:cxnSpMk id="1043" creationId="{070CF2C7-C478-2D8B-0401-C2A774CDC7D8}"/>
          </ac:cxnSpMkLst>
        </pc:cxnChg>
        <pc:cxnChg chg="mod">
          <ac:chgData name="Patrice Nivaggioli (pnivaggi)" userId="67e5b0e0-fc7f-4496-a07e-e7b17e1cb63b" providerId="ADAL" clId="{EC233A50-D0FB-7D45-8B5B-36E97234FAAE}" dt="2023-02-17T16:39:49.354" v="1806" actId="1035"/>
          <ac:cxnSpMkLst>
            <pc:docMk/>
            <pc:sldMk cId="2953738879" sldId="2147471356"/>
            <ac:cxnSpMk id="1053" creationId="{4B0861B0-54D8-71C7-7F8A-AB000741E3B6}"/>
          </ac:cxnSpMkLst>
        </pc:cxnChg>
        <pc:cxnChg chg="mod">
          <ac:chgData name="Patrice Nivaggioli (pnivaggi)" userId="67e5b0e0-fc7f-4496-a07e-e7b17e1cb63b" providerId="ADAL" clId="{EC233A50-D0FB-7D45-8B5B-36E97234FAAE}" dt="2023-02-17T16:39:49.354" v="1806" actId="1035"/>
          <ac:cxnSpMkLst>
            <pc:docMk/>
            <pc:sldMk cId="2953738879" sldId="2147471356"/>
            <ac:cxnSpMk id="1054" creationId="{18D41111-C16E-8DCB-27DE-CA02974C6BBC}"/>
          </ac:cxnSpMkLst>
        </pc:cxnChg>
        <pc:cxnChg chg="mod">
          <ac:chgData name="Patrice Nivaggioli (pnivaggi)" userId="67e5b0e0-fc7f-4496-a07e-e7b17e1cb63b" providerId="ADAL" clId="{EC233A50-D0FB-7D45-8B5B-36E97234FAAE}" dt="2023-02-17T16:39:49.354" v="1806" actId="1035"/>
          <ac:cxnSpMkLst>
            <pc:docMk/>
            <pc:sldMk cId="2953738879" sldId="2147471356"/>
            <ac:cxnSpMk id="1056" creationId="{696E171E-7114-4FFA-9220-DF3CA5D5016C}"/>
          </ac:cxnSpMkLst>
        </pc:cxnChg>
        <pc:cxnChg chg="mod">
          <ac:chgData name="Patrice Nivaggioli (pnivaggi)" userId="67e5b0e0-fc7f-4496-a07e-e7b17e1cb63b" providerId="ADAL" clId="{EC233A50-D0FB-7D45-8B5B-36E97234FAAE}" dt="2023-02-17T16:39:49.354" v="1806" actId="1035"/>
          <ac:cxnSpMkLst>
            <pc:docMk/>
            <pc:sldMk cId="2953738879" sldId="2147471356"/>
            <ac:cxnSpMk id="1058" creationId="{3FC82DC4-8EAF-F8B5-0277-5F53121CC516}"/>
          </ac:cxnSpMkLst>
        </pc:cxnChg>
        <pc:cxnChg chg="mod">
          <ac:chgData name="Patrice Nivaggioli (pnivaggi)" userId="67e5b0e0-fc7f-4496-a07e-e7b17e1cb63b" providerId="ADAL" clId="{EC233A50-D0FB-7D45-8B5B-36E97234FAAE}" dt="2023-02-17T16:39:49.354" v="1806" actId="1035"/>
          <ac:cxnSpMkLst>
            <pc:docMk/>
            <pc:sldMk cId="2953738879" sldId="2147471356"/>
            <ac:cxnSpMk id="1059" creationId="{7D5020ED-CAA6-E95A-4F46-6A4ACF0D64BE}"/>
          </ac:cxnSpMkLst>
        </pc:cxnChg>
        <pc:cxnChg chg="mod">
          <ac:chgData name="Patrice Nivaggioli (pnivaggi)" userId="67e5b0e0-fc7f-4496-a07e-e7b17e1cb63b" providerId="ADAL" clId="{EC233A50-D0FB-7D45-8B5B-36E97234FAAE}" dt="2023-02-17T16:39:49.354" v="1806" actId="1035"/>
          <ac:cxnSpMkLst>
            <pc:docMk/>
            <pc:sldMk cId="2953738879" sldId="2147471356"/>
            <ac:cxnSpMk id="1061" creationId="{7D5F60DD-57F4-59C4-0105-BBB83B22DCA9}"/>
          </ac:cxnSpMkLst>
        </pc:cxnChg>
        <pc:cxnChg chg="mod">
          <ac:chgData name="Patrice Nivaggioli (pnivaggi)" userId="67e5b0e0-fc7f-4496-a07e-e7b17e1cb63b" providerId="ADAL" clId="{EC233A50-D0FB-7D45-8B5B-36E97234FAAE}" dt="2023-02-17T16:39:49.354" v="1806" actId="1035"/>
          <ac:cxnSpMkLst>
            <pc:docMk/>
            <pc:sldMk cId="2953738879" sldId="2147471356"/>
            <ac:cxnSpMk id="1063" creationId="{8F0B64D8-4914-1565-5A09-7B9FC79076C6}"/>
          </ac:cxnSpMkLst>
        </pc:cxnChg>
        <pc:cxnChg chg="mod">
          <ac:chgData name="Patrice Nivaggioli (pnivaggi)" userId="67e5b0e0-fc7f-4496-a07e-e7b17e1cb63b" providerId="ADAL" clId="{EC233A50-D0FB-7D45-8B5B-36E97234FAAE}" dt="2023-02-17T16:39:49.354" v="1806" actId="1035"/>
          <ac:cxnSpMkLst>
            <pc:docMk/>
            <pc:sldMk cId="2953738879" sldId="2147471356"/>
            <ac:cxnSpMk id="1064" creationId="{17B48302-9443-2843-57F7-C87FBBF8F03C}"/>
          </ac:cxnSpMkLst>
        </pc:cxnChg>
        <pc:cxnChg chg="mod">
          <ac:chgData name="Patrice Nivaggioli (pnivaggi)" userId="67e5b0e0-fc7f-4496-a07e-e7b17e1cb63b" providerId="ADAL" clId="{EC233A50-D0FB-7D45-8B5B-36E97234FAAE}" dt="2023-02-17T16:39:49.354" v="1806" actId="1035"/>
          <ac:cxnSpMkLst>
            <pc:docMk/>
            <pc:sldMk cId="2953738879" sldId="2147471356"/>
            <ac:cxnSpMk id="1066" creationId="{FF5B749E-9D6E-7553-9C33-BD7515B9C5B2}"/>
          </ac:cxnSpMkLst>
        </pc:cxnChg>
        <pc:cxnChg chg="add mod">
          <ac:chgData name="Patrice Nivaggioli (pnivaggi)" userId="67e5b0e0-fc7f-4496-a07e-e7b17e1cb63b" providerId="ADAL" clId="{EC233A50-D0FB-7D45-8B5B-36E97234FAAE}" dt="2023-02-17T16:39:49.354" v="1806" actId="1035"/>
          <ac:cxnSpMkLst>
            <pc:docMk/>
            <pc:sldMk cId="2953738879" sldId="2147471356"/>
            <ac:cxnSpMk id="1068" creationId="{A9DACE70-A557-3807-4D46-23B668A59A61}"/>
          </ac:cxnSpMkLst>
        </pc:cxnChg>
        <pc:cxnChg chg="add mod">
          <ac:chgData name="Patrice Nivaggioli (pnivaggi)" userId="67e5b0e0-fc7f-4496-a07e-e7b17e1cb63b" providerId="ADAL" clId="{EC233A50-D0FB-7D45-8B5B-36E97234FAAE}" dt="2023-02-17T16:39:49.354" v="1806" actId="1035"/>
          <ac:cxnSpMkLst>
            <pc:docMk/>
            <pc:sldMk cId="2953738879" sldId="2147471356"/>
            <ac:cxnSpMk id="1069" creationId="{3D97F2CB-F591-360F-641E-E1F61BC5452F}"/>
          </ac:cxnSpMkLst>
        </pc:cxnChg>
        <pc:cxnChg chg="add mod">
          <ac:chgData name="Patrice Nivaggioli (pnivaggi)" userId="67e5b0e0-fc7f-4496-a07e-e7b17e1cb63b" providerId="ADAL" clId="{EC233A50-D0FB-7D45-8B5B-36E97234FAAE}" dt="2023-02-17T16:39:49.354" v="1806" actId="1035"/>
          <ac:cxnSpMkLst>
            <pc:docMk/>
            <pc:sldMk cId="2953738879" sldId="2147471356"/>
            <ac:cxnSpMk id="1072" creationId="{59DBA447-841B-D447-7AF0-DA3127E52A24}"/>
          </ac:cxnSpMkLst>
        </pc:cxnChg>
      </pc:sldChg>
    </pc:docChg>
  </pc:docChgLst>
  <pc:docChgLst>
    <pc:chgData name="Patrice Nivaggioli (pnivaggi)" userId="67e5b0e0-fc7f-4496-a07e-e7b17e1cb63b" providerId="ADAL" clId="{C7BA4851-E59F-A64B-A286-D4CDD140E369}"/>
    <pc:docChg chg="custSel addSld delSld modSld sldOrd modSection">
      <pc:chgData name="Patrice Nivaggioli (pnivaggi)" userId="67e5b0e0-fc7f-4496-a07e-e7b17e1cb63b" providerId="ADAL" clId="{C7BA4851-E59F-A64B-A286-D4CDD140E369}" dt="2023-04-13T09:53:27.495" v="1462" actId="20577"/>
      <pc:docMkLst>
        <pc:docMk/>
      </pc:docMkLst>
      <pc:sldChg chg="addSp delSp modSp mod ord">
        <pc:chgData name="Patrice Nivaggioli (pnivaggi)" userId="67e5b0e0-fc7f-4496-a07e-e7b17e1cb63b" providerId="ADAL" clId="{C7BA4851-E59F-A64B-A286-D4CDD140E369}" dt="2023-04-12T16:10:01.449" v="1234" actId="20578"/>
        <pc:sldMkLst>
          <pc:docMk/>
          <pc:sldMk cId="2949187000" sldId="262"/>
        </pc:sldMkLst>
        <pc:spChg chg="mod">
          <ac:chgData name="Patrice Nivaggioli (pnivaggi)" userId="67e5b0e0-fc7f-4496-a07e-e7b17e1cb63b" providerId="ADAL" clId="{C7BA4851-E59F-A64B-A286-D4CDD140E369}" dt="2023-03-17T14:34:24.373" v="727" actId="20577"/>
          <ac:spMkLst>
            <pc:docMk/>
            <pc:sldMk cId="2949187000" sldId="262"/>
            <ac:spMk id="2" creationId="{2FF8AA61-07CC-9646-B39A-0823DD48DED8}"/>
          </ac:spMkLst>
        </pc:spChg>
        <pc:spChg chg="del">
          <ac:chgData name="Patrice Nivaggioli (pnivaggi)" userId="67e5b0e0-fc7f-4496-a07e-e7b17e1cb63b" providerId="ADAL" clId="{C7BA4851-E59F-A64B-A286-D4CDD140E369}" dt="2023-03-17T14:20:09.753" v="550" actId="478"/>
          <ac:spMkLst>
            <pc:docMk/>
            <pc:sldMk cId="2949187000" sldId="262"/>
            <ac:spMk id="3" creationId="{72FFA465-FBF3-0C4D-9D26-9A518A8C371B}"/>
          </ac:spMkLst>
        </pc:spChg>
        <pc:spChg chg="del">
          <ac:chgData name="Patrice Nivaggioli (pnivaggi)" userId="67e5b0e0-fc7f-4496-a07e-e7b17e1cb63b" providerId="ADAL" clId="{C7BA4851-E59F-A64B-A286-D4CDD140E369}" dt="2023-03-17T14:21:39.751" v="591" actId="478"/>
          <ac:spMkLst>
            <pc:docMk/>
            <pc:sldMk cId="2949187000" sldId="262"/>
            <ac:spMk id="4" creationId="{B5A6324C-01FE-554B-B6CE-B32BCB6A5F53}"/>
          </ac:spMkLst>
        </pc:spChg>
        <pc:spChg chg="add del mod">
          <ac:chgData name="Patrice Nivaggioli (pnivaggi)" userId="67e5b0e0-fc7f-4496-a07e-e7b17e1cb63b" providerId="ADAL" clId="{C7BA4851-E59F-A64B-A286-D4CDD140E369}" dt="2023-03-17T14:20:11.877" v="551" actId="478"/>
          <ac:spMkLst>
            <pc:docMk/>
            <pc:sldMk cId="2949187000" sldId="262"/>
            <ac:spMk id="6" creationId="{8409523F-6B01-54BE-557C-EDDED88C9A5B}"/>
          </ac:spMkLst>
        </pc:spChg>
        <pc:spChg chg="add mod">
          <ac:chgData name="Patrice Nivaggioli (pnivaggi)" userId="67e5b0e0-fc7f-4496-a07e-e7b17e1cb63b" providerId="ADAL" clId="{C7BA4851-E59F-A64B-A286-D4CDD140E369}" dt="2023-03-17T15:12:28.131" v="1017" actId="408"/>
          <ac:spMkLst>
            <pc:docMk/>
            <pc:sldMk cId="2949187000" sldId="262"/>
            <ac:spMk id="8" creationId="{E0F5ACFD-A198-A31F-9DD4-733AB2F7AC23}"/>
          </ac:spMkLst>
        </pc:spChg>
        <pc:spChg chg="del">
          <ac:chgData name="Patrice Nivaggioli (pnivaggi)" userId="67e5b0e0-fc7f-4496-a07e-e7b17e1cb63b" providerId="ADAL" clId="{C7BA4851-E59F-A64B-A286-D4CDD140E369}" dt="2023-03-17T14:22:07.494" v="595" actId="478"/>
          <ac:spMkLst>
            <pc:docMk/>
            <pc:sldMk cId="2949187000" sldId="262"/>
            <ac:spMk id="9" creationId="{25E8CE9F-D6F5-DE45-B039-5A551103DF36}"/>
          </ac:spMkLst>
        </pc:spChg>
        <pc:spChg chg="del">
          <ac:chgData name="Patrice Nivaggioli (pnivaggi)" userId="67e5b0e0-fc7f-4496-a07e-e7b17e1cb63b" providerId="ADAL" clId="{C7BA4851-E59F-A64B-A286-D4CDD140E369}" dt="2023-03-17T14:34:33.659" v="728" actId="478"/>
          <ac:spMkLst>
            <pc:docMk/>
            <pc:sldMk cId="2949187000" sldId="262"/>
            <ac:spMk id="13" creationId="{6B47FDF9-CDB1-C9DE-26E4-4380DBCFF1A6}"/>
          </ac:spMkLst>
        </pc:spChg>
        <pc:spChg chg="add mod">
          <ac:chgData name="Patrice Nivaggioli (pnivaggi)" userId="67e5b0e0-fc7f-4496-a07e-e7b17e1cb63b" providerId="ADAL" clId="{C7BA4851-E59F-A64B-A286-D4CDD140E369}" dt="2023-03-17T14:21:39.751" v="591" actId="478"/>
          <ac:spMkLst>
            <pc:docMk/>
            <pc:sldMk cId="2949187000" sldId="262"/>
            <ac:spMk id="14" creationId="{A741AC07-9D35-A03F-85F4-324B91119A0E}"/>
          </ac:spMkLst>
        </pc:spChg>
        <pc:spChg chg="add mod">
          <ac:chgData name="Patrice Nivaggioli (pnivaggi)" userId="67e5b0e0-fc7f-4496-a07e-e7b17e1cb63b" providerId="ADAL" clId="{C7BA4851-E59F-A64B-A286-D4CDD140E369}" dt="2023-03-17T15:12:28.131" v="1017" actId="408"/>
          <ac:spMkLst>
            <pc:docMk/>
            <pc:sldMk cId="2949187000" sldId="262"/>
            <ac:spMk id="15" creationId="{B1E506D8-485A-5C5B-3031-97CF31917FDB}"/>
          </ac:spMkLst>
        </pc:spChg>
        <pc:spChg chg="add mod">
          <ac:chgData name="Patrice Nivaggioli (pnivaggi)" userId="67e5b0e0-fc7f-4496-a07e-e7b17e1cb63b" providerId="ADAL" clId="{C7BA4851-E59F-A64B-A286-D4CDD140E369}" dt="2023-03-17T15:12:28.131" v="1017" actId="408"/>
          <ac:spMkLst>
            <pc:docMk/>
            <pc:sldMk cId="2949187000" sldId="262"/>
            <ac:spMk id="17" creationId="{AC82B443-5650-BE37-CD5F-25586B684233}"/>
          </ac:spMkLst>
        </pc:spChg>
        <pc:spChg chg="add mod">
          <ac:chgData name="Patrice Nivaggioli (pnivaggi)" userId="67e5b0e0-fc7f-4496-a07e-e7b17e1cb63b" providerId="ADAL" clId="{C7BA4851-E59F-A64B-A286-D4CDD140E369}" dt="2023-03-17T15:12:28.131" v="1017" actId="408"/>
          <ac:spMkLst>
            <pc:docMk/>
            <pc:sldMk cId="2949187000" sldId="262"/>
            <ac:spMk id="19" creationId="{31346959-8075-AB2F-AA85-B20317DB28B7}"/>
          </ac:spMkLst>
        </pc:spChg>
        <pc:spChg chg="add mod">
          <ac:chgData name="Patrice Nivaggioli (pnivaggi)" userId="67e5b0e0-fc7f-4496-a07e-e7b17e1cb63b" providerId="ADAL" clId="{C7BA4851-E59F-A64B-A286-D4CDD140E369}" dt="2023-03-17T15:01:31.822" v="853" actId="1038"/>
          <ac:spMkLst>
            <pc:docMk/>
            <pc:sldMk cId="2949187000" sldId="262"/>
            <ac:spMk id="21" creationId="{1249D270-4185-D06D-08A7-5071E9FEA63E}"/>
          </ac:spMkLst>
        </pc:spChg>
        <pc:spChg chg="del">
          <ac:chgData name="Patrice Nivaggioli (pnivaggi)" userId="67e5b0e0-fc7f-4496-a07e-e7b17e1cb63b" providerId="ADAL" clId="{C7BA4851-E59F-A64B-A286-D4CDD140E369}" dt="2023-03-17T14:34:33.659" v="728" actId="478"/>
          <ac:spMkLst>
            <pc:docMk/>
            <pc:sldMk cId="2949187000" sldId="262"/>
            <ac:spMk id="22" creationId="{4063A99B-7745-4BBD-3CEF-61AFE702C5F6}"/>
          </ac:spMkLst>
        </pc:spChg>
        <pc:spChg chg="add mod">
          <ac:chgData name="Patrice Nivaggioli (pnivaggi)" userId="67e5b0e0-fc7f-4496-a07e-e7b17e1cb63b" providerId="ADAL" clId="{C7BA4851-E59F-A64B-A286-D4CDD140E369}" dt="2023-03-17T15:12:28.131" v="1017" actId="408"/>
          <ac:spMkLst>
            <pc:docMk/>
            <pc:sldMk cId="2949187000" sldId="262"/>
            <ac:spMk id="23" creationId="{3C587B2E-ED3D-34A0-49F5-EFD0ABD20B1E}"/>
          </ac:spMkLst>
        </pc:spChg>
        <pc:spChg chg="add mod">
          <ac:chgData name="Patrice Nivaggioli (pnivaggi)" userId="67e5b0e0-fc7f-4496-a07e-e7b17e1cb63b" providerId="ADAL" clId="{C7BA4851-E59F-A64B-A286-D4CDD140E369}" dt="2023-03-17T15:12:28.131" v="1017" actId="408"/>
          <ac:spMkLst>
            <pc:docMk/>
            <pc:sldMk cId="2949187000" sldId="262"/>
            <ac:spMk id="24" creationId="{C30ECEEC-8FCC-1C83-EBE2-E4AC27AF465A}"/>
          </ac:spMkLst>
        </pc:spChg>
        <pc:spChg chg="add mod">
          <ac:chgData name="Patrice Nivaggioli (pnivaggi)" userId="67e5b0e0-fc7f-4496-a07e-e7b17e1cb63b" providerId="ADAL" clId="{C7BA4851-E59F-A64B-A286-D4CDD140E369}" dt="2023-03-17T15:09:17.331" v="1005" actId="12788"/>
          <ac:spMkLst>
            <pc:docMk/>
            <pc:sldMk cId="2949187000" sldId="262"/>
            <ac:spMk id="25" creationId="{A16295C6-510D-95A5-AFD3-2B084A695F92}"/>
          </ac:spMkLst>
        </pc:spChg>
        <pc:spChg chg="add mod">
          <ac:chgData name="Patrice Nivaggioli (pnivaggi)" userId="67e5b0e0-fc7f-4496-a07e-e7b17e1cb63b" providerId="ADAL" clId="{C7BA4851-E59F-A64B-A286-D4CDD140E369}" dt="2023-03-17T15:12:28.131" v="1017" actId="408"/>
          <ac:spMkLst>
            <pc:docMk/>
            <pc:sldMk cId="2949187000" sldId="262"/>
            <ac:spMk id="34" creationId="{5E040FEC-649C-1706-2152-5C0120033E91}"/>
          </ac:spMkLst>
        </pc:spChg>
        <pc:spChg chg="add mod">
          <ac:chgData name="Patrice Nivaggioli (pnivaggi)" userId="67e5b0e0-fc7f-4496-a07e-e7b17e1cb63b" providerId="ADAL" clId="{C7BA4851-E59F-A64B-A286-D4CDD140E369}" dt="2023-03-17T15:12:28.131" v="1017" actId="408"/>
          <ac:spMkLst>
            <pc:docMk/>
            <pc:sldMk cId="2949187000" sldId="262"/>
            <ac:spMk id="35" creationId="{DF073142-6B17-38EC-7617-E5E7A5B3BD5D}"/>
          </ac:spMkLst>
        </pc:spChg>
        <pc:spChg chg="add del mod">
          <ac:chgData name="Patrice Nivaggioli (pnivaggi)" userId="67e5b0e0-fc7f-4496-a07e-e7b17e1cb63b" providerId="ADAL" clId="{C7BA4851-E59F-A64B-A286-D4CDD140E369}" dt="2023-03-17T15:03:05.616" v="878"/>
          <ac:spMkLst>
            <pc:docMk/>
            <pc:sldMk cId="2949187000" sldId="262"/>
            <ac:spMk id="36" creationId="{61DF8B7B-8C19-AEF6-042D-DF10E51AAFB0}"/>
          </ac:spMkLst>
        </pc:spChg>
        <pc:spChg chg="add mod">
          <ac:chgData name="Patrice Nivaggioli (pnivaggi)" userId="67e5b0e0-fc7f-4496-a07e-e7b17e1cb63b" providerId="ADAL" clId="{C7BA4851-E59F-A64B-A286-D4CDD140E369}" dt="2023-03-17T15:12:06.821" v="1016" actId="164"/>
          <ac:spMkLst>
            <pc:docMk/>
            <pc:sldMk cId="2949187000" sldId="262"/>
            <ac:spMk id="37" creationId="{502A5AAA-A29F-F101-D6A2-329FAAE7B747}"/>
          </ac:spMkLst>
        </pc:spChg>
        <pc:spChg chg="mod">
          <ac:chgData name="Patrice Nivaggioli (pnivaggi)" userId="67e5b0e0-fc7f-4496-a07e-e7b17e1cb63b" providerId="ADAL" clId="{C7BA4851-E59F-A64B-A286-D4CDD140E369}" dt="2023-03-17T15:03:13.563" v="879"/>
          <ac:spMkLst>
            <pc:docMk/>
            <pc:sldMk cId="2949187000" sldId="262"/>
            <ac:spMk id="40" creationId="{D1B8AFB9-B6DD-BADE-3365-E0CC6DC0977C}"/>
          </ac:spMkLst>
        </pc:spChg>
        <pc:spChg chg="add mod">
          <ac:chgData name="Patrice Nivaggioli (pnivaggi)" userId="67e5b0e0-fc7f-4496-a07e-e7b17e1cb63b" providerId="ADAL" clId="{C7BA4851-E59F-A64B-A286-D4CDD140E369}" dt="2023-03-17T15:12:06.821" v="1016" actId="164"/>
          <ac:spMkLst>
            <pc:docMk/>
            <pc:sldMk cId="2949187000" sldId="262"/>
            <ac:spMk id="41" creationId="{1EA4D6D7-7BFF-E596-30B9-CF6F5CF027A2}"/>
          </ac:spMkLst>
        </pc:spChg>
        <pc:spChg chg="add mod">
          <ac:chgData name="Patrice Nivaggioli (pnivaggi)" userId="67e5b0e0-fc7f-4496-a07e-e7b17e1cb63b" providerId="ADAL" clId="{C7BA4851-E59F-A64B-A286-D4CDD140E369}" dt="2023-03-17T15:12:28.131" v="1017" actId="408"/>
          <ac:spMkLst>
            <pc:docMk/>
            <pc:sldMk cId="2949187000" sldId="262"/>
            <ac:spMk id="42" creationId="{91AC3518-69FF-A77F-880B-F14CB0F51564}"/>
          </ac:spMkLst>
        </pc:spChg>
        <pc:spChg chg="add mod">
          <ac:chgData name="Patrice Nivaggioli (pnivaggi)" userId="67e5b0e0-fc7f-4496-a07e-e7b17e1cb63b" providerId="ADAL" clId="{C7BA4851-E59F-A64B-A286-D4CDD140E369}" dt="2023-03-17T15:12:28.131" v="1017" actId="408"/>
          <ac:spMkLst>
            <pc:docMk/>
            <pc:sldMk cId="2949187000" sldId="262"/>
            <ac:spMk id="43" creationId="{DBB903B4-7DFE-5BE1-D734-F7E39A4F84B3}"/>
          </ac:spMkLst>
        </pc:spChg>
        <pc:spChg chg="add mod">
          <ac:chgData name="Patrice Nivaggioli (pnivaggi)" userId="67e5b0e0-fc7f-4496-a07e-e7b17e1cb63b" providerId="ADAL" clId="{C7BA4851-E59F-A64B-A286-D4CDD140E369}" dt="2023-03-17T15:12:28.131" v="1017" actId="408"/>
          <ac:spMkLst>
            <pc:docMk/>
            <pc:sldMk cId="2949187000" sldId="262"/>
            <ac:spMk id="44" creationId="{726C8D4C-36D9-A60E-9EB5-79639B471BA5}"/>
          </ac:spMkLst>
        </pc:spChg>
        <pc:spChg chg="add mod">
          <ac:chgData name="Patrice Nivaggioli (pnivaggi)" userId="67e5b0e0-fc7f-4496-a07e-e7b17e1cb63b" providerId="ADAL" clId="{C7BA4851-E59F-A64B-A286-D4CDD140E369}" dt="2023-03-17T15:12:28.131" v="1017" actId="408"/>
          <ac:spMkLst>
            <pc:docMk/>
            <pc:sldMk cId="2949187000" sldId="262"/>
            <ac:spMk id="45" creationId="{395D2A1E-4D38-39B2-2E34-22F13B081D9F}"/>
          </ac:spMkLst>
        </pc:spChg>
        <pc:spChg chg="add mod">
          <ac:chgData name="Patrice Nivaggioli (pnivaggi)" userId="67e5b0e0-fc7f-4496-a07e-e7b17e1cb63b" providerId="ADAL" clId="{C7BA4851-E59F-A64B-A286-D4CDD140E369}" dt="2023-03-17T15:12:28.131" v="1017" actId="408"/>
          <ac:spMkLst>
            <pc:docMk/>
            <pc:sldMk cId="2949187000" sldId="262"/>
            <ac:spMk id="46" creationId="{15A8DCAD-E2C2-E7E3-4A3A-FB6B75649368}"/>
          </ac:spMkLst>
        </pc:spChg>
        <pc:spChg chg="add mod">
          <ac:chgData name="Patrice Nivaggioli (pnivaggi)" userId="67e5b0e0-fc7f-4496-a07e-e7b17e1cb63b" providerId="ADAL" clId="{C7BA4851-E59F-A64B-A286-D4CDD140E369}" dt="2023-03-17T15:12:28.131" v="1017" actId="408"/>
          <ac:spMkLst>
            <pc:docMk/>
            <pc:sldMk cId="2949187000" sldId="262"/>
            <ac:spMk id="47" creationId="{E491A018-2E0D-18BC-786F-973B168D0B8E}"/>
          </ac:spMkLst>
        </pc:spChg>
        <pc:spChg chg="add mod">
          <ac:chgData name="Patrice Nivaggioli (pnivaggi)" userId="67e5b0e0-fc7f-4496-a07e-e7b17e1cb63b" providerId="ADAL" clId="{C7BA4851-E59F-A64B-A286-D4CDD140E369}" dt="2023-03-17T15:09:30.171" v="1006" actId="164"/>
          <ac:spMkLst>
            <pc:docMk/>
            <pc:sldMk cId="2949187000" sldId="262"/>
            <ac:spMk id="48" creationId="{ABF4D26F-3A4D-CE75-B521-CF379D69397A}"/>
          </ac:spMkLst>
        </pc:spChg>
        <pc:spChg chg="add mod">
          <ac:chgData name="Patrice Nivaggioli (pnivaggi)" userId="67e5b0e0-fc7f-4496-a07e-e7b17e1cb63b" providerId="ADAL" clId="{C7BA4851-E59F-A64B-A286-D4CDD140E369}" dt="2023-03-17T15:09:30.171" v="1006" actId="164"/>
          <ac:spMkLst>
            <pc:docMk/>
            <pc:sldMk cId="2949187000" sldId="262"/>
            <ac:spMk id="49" creationId="{C6767585-814B-EA85-1238-E4D2F615AE55}"/>
          </ac:spMkLst>
        </pc:spChg>
        <pc:grpChg chg="add mod">
          <ac:chgData name="Patrice Nivaggioli (pnivaggi)" userId="67e5b0e0-fc7f-4496-a07e-e7b17e1cb63b" providerId="ADAL" clId="{C7BA4851-E59F-A64B-A286-D4CDD140E369}" dt="2023-03-17T15:09:30.171" v="1006" actId="164"/>
          <ac:grpSpMkLst>
            <pc:docMk/>
            <pc:sldMk cId="2949187000" sldId="262"/>
            <ac:grpSpMk id="26" creationId="{65592264-787D-C006-8C60-85075367159E}"/>
          </ac:grpSpMkLst>
        </pc:grpChg>
        <pc:grpChg chg="add mod">
          <ac:chgData name="Patrice Nivaggioli (pnivaggi)" userId="67e5b0e0-fc7f-4496-a07e-e7b17e1cb63b" providerId="ADAL" clId="{C7BA4851-E59F-A64B-A286-D4CDD140E369}" dt="2023-03-17T15:12:28.131" v="1017" actId="408"/>
          <ac:grpSpMkLst>
            <pc:docMk/>
            <pc:sldMk cId="2949187000" sldId="262"/>
            <ac:grpSpMk id="27" creationId="{2EE52117-DACA-9D63-F12F-5DDBD44B2274}"/>
          </ac:grpSpMkLst>
        </pc:grpChg>
        <pc:grpChg chg="add mod">
          <ac:chgData name="Patrice Nivaggioli (pnivaggi)" userId="67e5b0e0-fc7f-4496-a07e-e7b17e1cb63b" providerId="ADAL" clId="{C7BA4851-E59F-A64B-A286-D4CDD140E369}" dt="2023-03-17T15:12:28.131" v="1017" actId="408"/>
          <ac:grpSpMkLst>
            <pc:docMk/>
            <pc:sldMk cId="2949187000" sldId="262"/>
            <ac:grpSpMk id="28" creationId="{C971C69D-8278-DC42-7F6C-05A36265DF20}"/>
          </ac:grpSpMkLst>
        </pc:grpChg>
        <pc:grpChg chg="add mod">
          <ac:chgData name="Patrice Nivaggioli (pnivaggi)" userId="67e5b0e0-fc7f-4496-a07e-e7b17e1cb63b" providerId="ADAL" clId="{C7BA4851-E59F-A64B-A286-D4CDD140E369}" dt="2023-03-17T15:12:28.131" v="1017" actId="408"/>
          <ac:grpSpMkLst>
            <pc:docMk/>
            <pc:sldMk cId="2949187000" sldId="262"/>
            <ac:grpSpMk id="29" creationId="{776E9EC7-4B36-2138-3A48-C28D7C0A848D}"/>
          </ac:grpSpMkLst>
        </pc:grpChg>
        <pc:grpChg chg="add mod">
          <ac:chgData name="Patrice Nivaggioli (pnivaggi)" userId="67e5b0e0-fc7f-4496-a07e-e7b17e1cb63b" providerId="ADAL" clId="{C7BA4851-E59F-A64B-A286-D4CDD140E369}" dt="2023-03-17T15:12:28.131" v="1017" actId="408"/>
          <ac:grpSpMkLst>
            <pc:docMk/>
            <pc:sldMk cId="2949187000" sldId="262"/>
            <ac:grpSpMk id="30" creationId="{55626600-B776-FF9A-E4D5-5E15A0B2BDD0}"/>
          </ac:grpSpMkLst>
        </pc:grpChg>
        <pc:grpChg chg="add mod">
          <ac:chgData name="Patrice Nivaggioli (pnivaggi)" userId="67e5b0e0-fc7f-4496-a07e-e7b17e1cb63b" providerId="ADAL" clId="{C7BA4851-E59F-A64B-A286-D4CDD140E369}" dt="2023-03-17T15:12:06.821" v="1016" actId="164"/>
          <ac:grpSpMkLst>
            <pc:docMk/>
            <pc:sldMk cId="2949187000" sldId="262"/>
            <ac:grpSpMk id="31" creationId="{FE039B86-350D-94EB-FEBE-28CCAC809856}"/>
          </ac:grpSpMkLst>
        </pc:grpChg>
        <pc:grpChg chg="add mod">
          <ac:chgData name="Patrice Nivaggioli (pnivaggi)" userId="67e5b0e0-fc7f-4496-a07e-e7b17e1cb63b" providerId="ADAL" clId="{C7BA4851-E59F-A64B-A286-D4CDD140E369}" dt="2023-03-17T15:12:28.131" v="1017" actId="408"/>
          <ac:grpSpMkLst>
            <pc:docMk/>
            <pc:sldMk cId="2949187000" sldId="262"/>
            <ac:grpSpMk id="32" creationId="{05CA0078-590D-CD19-431A-A03954D1FB54}"/>
          </ac:grpSpMkLst>
        </pc:grpChg>
        <pc:grpChg chg="add mod">
          <ac:chgData name="Patrice Nivaggioli (pnivaggi)" userId="67e5b0e0-fc7f-4496-a07e-e7b17e1cb63b" providerId="ADAL" clId="{C7BA4851-E59F-A64B-A286-D4CDD140E369}" dt="2023-03-17T15:12:28.131" v="1017" actId="408"/>
          <ac:grpSpMkLst>
            <pc:docMk/>
            <pc:sldMk cId="2949187000" sldId="262"/>
            <ac:grpSpMk id="33" creationId="{97C35A32-7342-CF89-A2D1-D0B1B4421281}"/>
          </ac:grpSpMkLst>
        </pc:grpChg>
        <pc:grpChg chg="add del mod">
          <ac:chgData name="Patrice Nivaggioli (pnivaggi)" userId="67e5b0e0-fc7f-4496-a07e-e7b17e1cb63b" providerId="ADAL" clId="{C7BA4851-E59F-A64B-A286-D4CDD140E369}" dt="2023-03-17T15:03:25.278" v="881" actId="478"/>
          <ac:grpSpMkLst>
            <pc:docMk/>
            <pc:sldMk cId="2949187000" sldId="262"/>
            <ac:grpSpMk id="38" creationId="{4957FED5-EAF8-BE4D-FBD0-BAC48824341E}"/>
          </ac:grpSpMkLst>
        </pc:grpChg>
        <pc:grpChg chg="add mod">
          <ac:chgData name="Patrice Nivaggioli (pnivaggi)" userId="67e5b0e0-fc7f-4496-a07e-e7b17e1cb63b" providerId="ADAL" clId="{C7BA4851-E59F-A64B-A286-D4CDD140E369}" dt="2023-03-17T15:12:28.131" v="1017" actId="408"/>
          <ac:grpSpMkLst>
            <pc:docMk/>
            <pc:sldMk cId="2949187000" sldId="262"/>
            <ac:grpSpMk id="50" creationId="{66F4E04D-4B76-A304-1BCA-CFACB958E91B}"/>
          </ac:grpSpMkLst>
        </pc:grpChg>
        <pc:grpChg chg="add mod">
          <ac:chgData name="Patrice Nivaggioli (pnivaggi)" userId="67e5b0e0-fc7f-4496-a07e-e7b17e1cb63b" providerId="ADAL" clId="{C7BA4851-E59F-A64B-A286-D4CDD140E369}" dt="2023-03-17T15:12:28.131" v="1017" actId="408"/>
          <ac:grpSpMkLst>
            <pc:docMk/>
            <pc:sldMk cId="2949187000" sldId="262"/>
            <ac:grpSpMk id="51" creationId="{8CD44525-C7E5-4BA4-98CE-EF479FD27CD5}"/>
          </ac:grpSpMkLst>
        </pc:grpChg>
        <pc:grpChg chg="add mod">
          <ac:chgData name="Patrice Nivaggioli (pnivaggi)" userId="67e5b0e0-fc7f-4496-a07e-e7b17e1cb63b" providerId="ADAL" clId="{C7BA4851-E59F-A64B-A286-D4CDD140E369}" dt="2023-03-17T15:12:28.131" v="1017" actId="408"/>
          <ac:grpSpMkLst>
            <pc:docMk/>
            <pc:sldMk cId="2949187000" sldId="262"/>
            <ac:grpSpMk id="52" creationId="{3635C5AE-A6B2-6524-FDD4-874C60BC95E6}"/>
          </ac:grpSpMkLst>
        </pc:grpChg>
        <pc:grpChg chg="add mod">
          <ac:chgData name="Patrice Nivaggioli (pnivaggi)" userId="67e5b0e0-fc7f-4496-a07e-e7b17e1cb63b" providerId="ADAL" clId="{C7BA4851-E59F-A64B-A286-D4CDD140E369}" dt="2023-03-17T15:12:28.131" v="1017" actId="408"/>
          <ac:grpSpMkLst>
            <pc:docMk/>
            <pc:sldMk cId="2949187000" sldId="262"/>
            <ac:grpSpMk id="53" creationId="{808C740D-506D-1565-9D62-B3A9E21BD61A}"/>
          </ac:grpSpMkLst>
        </pc:grpChg>
        <pc:grpChg chg="add mod">
          <ac:chgData name="Patrice Nivaggioli (pnivaggi)" userId="67e5b0e0-fc7f-4496-a07e-e7b17e1cb63b" providerId="ADAL" clId="{C7BA4851-E59F-A64B-A286-D4CDD140E369}" dt="2023-03-17T15:12:28.131" v="1017" actId="408"/>
          <ac:grpSpMkLst>
            <pc:docMk/>
            <pc:sldMk cId="2949187000" sldId="262"/>
            <ac:grpSpMk id="54" creationId="{AD59F6FA-E08A-12D7-DC45-27A9A04863F4}"/>
          </ac:grpSpMkLst>
        </pc:grpChg>
        <pc:grpChg chg="add mod">
          <ac:chgData name="Patrice Nivaggioli (pnivaggi)" userId="67e5b0e0-fc7f-4496-a07e-e7b17e1cb63b" providerId="ADAL" clId="{C7BA4851-E59F-A64B-A286-D4CDD140E369}" dt="2023-03-17T15:12:28.131" v="1017" actId="408"/>
          <ac:grpSpMkLst>
            <pc:docMk/>
            <pc:sldMk cId="2949187000" sldId="262"/>
            <ac:grpSpMk id="55" creationId="{68050DB6-EF2C-EE42-4586-32FD9EC77E1E}"/>
          </ac:grpSpMkLst>
        </pc:grpChg>
        <pc:picChg chg="del">
          <ac:chgData name="Patrice Nivaggioli (pnivaggi)" userId="67e5b0e0-fc7f-4496-a07e-e7b17e1cb63b" providerId="ADAL" clId="{C7BA4851-E59F-A64B-A286-D4CDD140E369}" dt="2023-03-17T14:22:00.305" v="593" actId="478"/>
          <ac:picMkLst>
            <pc:docMk/>
            <pc:sldMk cId="2949187000" sldId="262"/>
            <ac:picMk id="7" creationId="{9B5E1A75-7A50-0A2F-F84F-E04E31A70B7F}"/>
          </ac:picMkLst>
        </pc:picChg>
        <pc:picChg chg="del">
          <ac:chgData name="Patrice Nivaggioli (pnivaggi)" userId="67e5b0e0-fc7f-4496-a07e-e7b17e1cb63b" providerId="ADAL" clId="{C7BA4851-E59F-A64B-A286-D4CDD140E369}" dt="2023-03-17T14:21:29.010" v="590" actId="478"/>
          <ac:picMkLst>
            <pc:docMk/>
            <pc:sldMk cId="2949187000" sldId="262"/>
            <ac:picMk id="10" creationId="{E28D7A44-E564-8248-B667-331421DACA66}"/>
          </ac:picMkLst>
        </pc:picChg>
        <pc:picChg chg="del">
          <ac:chgData name="Patrice Nivaggioli (pnivaggi)" userId="67e5b0e0-fc7f-4496-a07e-e7b17e1cb63b" providerId="ADAL" clId="{C7BA4851-E59F-A64B-A286-D4CDD140E369}" dt="2023-03-17T14:22:03.954" v="594" actId="478"/>
          <ac:picMkLst>
            <pc:docMk/>
            <pc:sldMk cId="2949187000" sldId="262"/>
            <ac:picMk id="11" creationId="{980E95B5-2129-504C-A2DB-655B464A4A88}"/>
          </ac:picMkLst>
        </pc:picChg>
        <pc:picChg chg="mod">
          <ac:chgData name="Patrice Nivaggioli (pnivaggi)" userId="67e5b0e0-fc7f-4496-a07e-e7b17e1cb63b" providerId="ADAL" clId="{C7BA4851-E59F-A64B-A286-D4CDD140E369}" dt="2023-03-17T15:12:28.131" v="1017" actId="408"/>
          <ac:picMkLst>
            <pc:docMk/>
            <pc:sldMk cId="2949187000" sldId="262"/>
            <ac:picMk id="16" creationId="{1D132948-33F4-A71A-A0CD-0719ED6A0F65}"/>
          </ac:picMkLst>
        </pc:picChg>
        <pc:picChg chg="mod">
          <ac:chgData name="Patrice Nivaggioli (pnivaggi)" userId="67e5b0e0-fc7f-4496-a07e-e7b17e1cb63b" providerId="ADAL" clId="{C7BA4851-E59F-A64B-A286-D4CDD140E369}" dt="2023-03-17T15:12:28.131" v="1017" actId="408"/>
          <ac:picMkLst>
            <pc:docMk/>
            <pc:sldMk cId="2949187000" sldId="262"/>
            <ac:picMk id="18" creationId="{30EFAC09-FEAD-A067-7493-2517088FE36E}"/>
          </ac:picMkLst>
        </pc:picChg>
        <pc:picChg chg="mod">
          <ac:chgData name="Patrice Nivaggioli (pnivaggi)" userId="67e5b0e0-fc7f-4496-a07e-e7b17e1cb63b" providerId="ADAL" clId="{C7BA4851-E59F-A64B-A286-D4CDD140E369}" dt="2023-03-17T15:01:31.822" v="853" actId="1038"/>
          <ac:picMkLst>
            <pc:docMk/>
            <pc:sldMk cId="2949187000" sldId="262"/>
            <ac:picMk id="20" creationId="{9CC4DBB9-0A23-BFD5-DD02-7DED30BBC068}"/>
          </ac:picMkLst>
        </pc:picChg>
        <pc:picChg chg="mod">
          <ac:chgData name="Patrice Nivaggioli (pnivaggi)" userId="67e5b0e0-fc7f-4496-a07e-e7b17e1cb63b" providerId="ADAL" clId="{C7BA4851-E59F-A64B-A286-D4CDD140E369}" dt="2023-03-17T15:03:13.563" v="879"/>
          <ac:picMkLst>
            <pc:docMk/>
            <pc:sldMk cId="2949187000" sldId="262"/>
            <ac:picMk id="39" creationId="{0CBBCE07-74BD-C7F4-3D17-E0FA2C5AF307}"/>
          </ac:picMkLst>
        </pc:picChg>
        <pc:picChg chg="add mod">
          <ac:chgData name="Patrice Nivaggioli (pnivaggi)" userId="67e5b0e0-fc7f-4496-a07e-e7b17e1cb63b" providerId="ADAL" clId="{C7BA4851-E59F-A64B-A286-D4CDD140E369}" dt="2023-03-17T15:12:28.131" v="1017" actId="408"/>
          <ac:picMkLst>
            <pc:docMk/>
            <pc:sldMk cId="2949187000" sldId="262"/>
            <ac:picMk id="1026" creationId="{C2148AAB-CEB5-CE1A-75BA-DE70DCA3D160}"/>
          </ac:picMkLst>
        </pc:picChg>
        <pc:picChg chg="add mod">
          <ac:chgData name="Patrice Nivaggioli (pnivaggi)" userId="67e5b0e0-fc7f-4496-a07e-e7b17e1cb63b" providerId="ADAL" clId="{C7BA4851-E59F-A64B-A286-D4CDD140E369}" dt="2023-03-17T15:12:28.131" v="1017" actId="408"/>
          <ac:picMkLst>
            <pc:docMk/>
            <pc:sldMk cId="2949187000" sldId="262"/>
            <ac:picMk id="1028" creationId="{7C1FEB5D-2FB0-459C-054D-85840EA36D92}"/>
          </ac:picMkLst>
        </pc:picChg>
        <pc:picChg chg="add mod">
          <ac:chgData name="Patrice Nivaggioli (pnivaggi)" userId="67e5b0e0-fc7f-4496-a07e-e7b17e1cb63b" providerId="ADAL" clId="{C7BA4851-E59F-A64B-A286-D4CDD140E369}" dt="2023-03-17T15:12:28.131" v="1017" actId="408"/>
          <ac:picMkLst>
            <pc:docMk/>
            <pc:sldMk cId="2949187000" sldId="262"/>
            <ac:picMk id="1030" creationId="{541EA442-2BC7-8A4C-D186-987C3FD1AACD}"/>
          </ac:picMkLst>
        </pc:picChg>
        <pc:picChg chg="add mod">
          <ac:chgData name="Patrice Nivaggioli (pnivaggi)" userId="67e5b0e0-fc7f-4496-a07e-e7b17e1cb63b" providerId="ADAL" clId="{C7BA4851-E59F-A64B-A286-D4CDD140E369}" dt="2023-03-17T15:12:28.131" v="1017" actId="408"/>
          <ac:picMkLst>
            <pc:docMk/>
            <pc:sldMk cId="2949187000" sldId="262"/>
            <ac:picMk id="1032" creationId="{BA9CA652-6AB3-B8EE-4F45-1E80A9973648}"/>
          </ac:picMkLst>
        </pc:picChg>
        <pc:picChg chg="add mod">
          <ac:chgData name="Patrice Nivaggioli (pnivaggi)" userId="67e5b0e0-fc7f-4496-a07e-e7b17e1cb63b" providerId="ADAL" clId="{C7BA4851-E59F-A64B-A286-D4CDD140E369}" dt="2023-03-17T15:12:28.131" v="1017" actId="408"/>
          <ac:picMkLst>
            <pc:docMk/>
            <pc:sldMk cId="2949187000" sldId="262"/>
            <ac:picMk id="1034" creationId="{CC968C67-2738-6EEB-0BA7-327094BF405B}"/>
          </ac:picMkLst>
        </pc:picChg>
        <pc:picChg chg="add mod">
          <ac:chgData name="Patrice Nivaggioli (pnivaggi)" userId="67e5b0e0-fc7f-4496-a07e-e7b17e1cb63b" providerId="ADAL" clId="{C7BA4851-E59F-A64B-A286-D4CDD140E369}" dt="2023-03-17T15:12:28.131" v="1017" actId="408"/>
          <ac:picMkLst>
            <pc:docMk/>
            <pc:sldMk cId="2949187000" sldId="262"/>
            <ac:picMk id="1036" creationId="{FD26A2C8-2350-93A4-003F-4F6685BD3BB6}"/>
          </ac:picMkLst>
        </pc:picChg>
        <pc:picChg chg="add mod">
          <ac:chgData name="Patrice Nivaggioli (pnivaggi)" userId="67e5b0e0-fc7f-4496-a07e-e7b17e1cb63b" providerId="ADAL" clId="{C7BA4851-E59F-A64B-A286-D4CDD140E369}" dt="2023-03-17T15:09:17.331" v="1005" actId="12788"/>
          <ac:picMkLst>
            <pc:docMk/>
            <pc:sldMk cId="2949187000" sldId="262"/>
            <ac:picMk id="1038" creationId="{13065636-983B-4B98-1C3F-995573378940}"/>
          </ac:picMkLst>
        </pc:picChg>
      </pc:sldChg>
      <pc:sldChg chg="del">
        <pc:chgData name="Patrice Nivaggioli (pnivaggi)" userId="67e5b0e0-fc7f-4496-a07e-e7b17e1cb63b" providerId="ADAL" clId="{C7BA4851-E59F-A64B-A286-D4CDD140E369}" dt="2023-03-16T17:19:04.893" v="169" actId="2696"/>
        <pc:sldMkLst>
          <pc:docMk/>
          <pc:sldMk cId="4282305081" sldId="263"/>
        </pc:sldMkLst>
      </pc:sldChg>
      <pc:sldChg chg="addSp delSp modSp add del mod modShow">
        <pc:chgData name="Patrice Nivaggioli (pnivaggi)" userId="67e5b0e0-fc7f-4496-a07e-e7b17e1cb63b" providerId="ADAL" clId="{C7BA4851-E59F-A64B-A286-D4CDD140E369}" dt="2023-04-12T16:20:53.261" v="1357" actId="2696"/>
        <pc:sldMkLst>
          <pc:docMk/>
          <pc:sldMk cId="4141210915" sldId="2142534061"/>
        </pc:sldMkLst>
        <pc:spChg chg="mod">
          <ac:chgData name="Patrice Nivaggioli (pnivaggi)" userId="67e5b0e0-fc7f-4496-a07e-e7b17e1cb63b" providerId="ADAL" clId="{C7BA4851-E59F-A64B-A286-D4CDD140E369}" dt="2023-03-17T13:44:57.061" v="448" actId="207"/>
          <ac:spMkLst>
            <pc:docMk/>
            <pc:sldMk cId="4141210915" sldId="2142534061"/>
            <ac:spMk id="7" creationId="{8D02E88E-1716-F145-BD09-1A405F5CEABF}"/>
          </ac:spMkLst>
        </pc:spChg>
        <pc:spChg chg="mod">
          <ac:chgData name="Patrice Nivaggioli (pnivaggi)" userId="67e5b0e0-fc7f-4496-a07e-e7b17e1cb63b" providerId="ADAL" clId="{C7BA4851-E59F-A64B-A286-D4CDD140E369}" dt="2023-03-17T13:44:57.061" v="448" actId="207"/>
          <ac:spMkLst>
            <pc:docMk/>
            <pc:sldMk cId="4141210915" sldId="2142534061"/>
            <ac:spMk id="8" creationId="{5D5F451F-9357-2147-81A9-EFFB8E9C02FC}"/>
          </ac:spMkLst>
        </pc:spChg>
        <pc:spChg chg="mod">
          <ac:chgData name="Patrice Nivaggioli (pnivaggi)" userId="67e5b0e0-fc7f-4496-a07e-e7b17e1cb63b" providerId="ADAL" clId="{C7BA4851-E59F-A64B-A286-D4CDD140E369}" dt="2023-03-17T13:44:57.061" v="448" actId="207"/>
          <ac:spMkLst>
            <pc:docMk/>
            <pc:sldMk cId="4141210915" sldId="2142534061"/>
            <ac:spMk id="9" creationId="{28830440-A3CE-734B-8BE7-22B8CD695749}"/>
          </ac:spMkLst>
        </pc:spChg>
        <pc:spChg chg="mod">
          <ac:chgData name="Patrice Nivaggioli (pnivaggi)" userId="67e5b0e0-fc7f-4496-a07e-e7b17e1cb63b" providerId="ADAL" clId="{C7BA4851-E59F-A64B-A286-D4CDD140E369}" dt="2023-03-17T13:44:57.061" v="448" actId="207"/>
          <ac:spMkLst>
            <pc:docMk/>
            <pc:sldMk cId="4141210915" sldId="2142534061"/>
            <ac:spMk id="10" creationId="{C154412E-50DE-D743-B652-351954120D8F}"/>
          </ac:spMkLst>
        </pc:spChg>
        <pc:spChg chg="mod">
          <ac:chgData name="Patrice Nivaggioli (pnivaggi)" userId="67e5b0e0-fc7f-4496-a07e-e7b17e1cb63b" providerId="ADAL" clId="{C7BA4851-E59F-A64B-A286-D4CDD140E369}" dt="2023-03-17T13:44:49.017" v="447" actId="207"/>
          <ac:spMkLst>
            <pc:docMk/>
            <pc:sldMk cId="4141210915" sldId="2142534061"/>
            <ac:spMk id="11" creationId="{F114D27E-9AD2-0146-897C-A0F588EE3934}"/>
          </ac:spMkLst>
        </pc:spChg>
        <pc:spChg chg="mod">
          <ac:chgData name="Patrice Nivaggioli (pnivaggi)" userId="67e5b0e0-fc7f-4496-a07e-e7b17e1cb63b" providerId="ADAL" clId="{C7BA4851-E59F-A64B-A286-D4CDD140E369}" dt="2023-03-17T13:44:57.061" v="448" actId="207"/>
          <ac:spMkLst>
            <pc:docMk/>
            <pc:sldMk cId="4141210915" sldId="2142534061"/>
            <ac:spMk id="12" creationId="{E03241ED-281C-4E4C-9ADC-88BE48CAF321}"/>
          </ac:spMkLst>
        </pc:spChg>
        <pc:spChg chg="mod">
          <ac:chgData name="Patrice Nivaggioli (pnivaggi)" userId="67e5b0e0-fc7f-4496-a07e-e7b17e1cb63b" providerId="ADAL" clId="{C7BA4851-E59F-A64B-A286-D4CDD140E369}" dt="2023-03-17T13:44:39.313" v="446" actId="207"/>
          <ac:spMkLst>
            <pc:docMk/>
            <pc:sldMk cId="4141210915" sldId="2142534061"/>
            <ac:spMk id="13" creationId="{9690D1E6-E511-EB4F-8F5B-6180497DA7CF}"/>
          </ac:spMkLst>
        </pc:spChg>
        <pc:spChg chg="del">
          <ac:chgData name="Patrice Nivaggioli (pnivaggi)" userId="67e5b0e0-fc7f-4496-a07e-e7b17e1cb63b" providerId="ADAL" clId="{C7BA4851-E59F-A64B-A286-D4CDD140E369}" dt="2023-03-17T09:14:29.327" v="351" actId="478"/>
          <ac:spMkLst>
            <pc:docMk/>
            <pc:sldMk cId="4141210915" sldId="2142534061"/>
            <ac:spMk id="21504" creationId="{563BE11D-BDC9-4A50-B133-327E8F7E222E}"/>
          </ac:spMkLst>
        </pc:spChg>
        <pc:spChg chg="del">
          <ac:chgData name="Patrice Nivaggioli (pnivaggi)" userId="67e5b0e0-fc7f-4496-a07e-e7b17e1cb63b" providerId="ADAL" clId="{C7BA4851-E59F-A64B-A286-D4CDD140E369}" dt="2023-03-17T09:14:29.327" v="351" actId="478"/>
          <ac:spMkLst>
            <pc:docMk/>
            <pc:sldMk cId="4141210915" sldId="2142534061"/>
            <ac:spMk id="21505" creationId="{EC7A4D46-0DBB-E699-823D-C6021AC7A360}"/>
          </ac:spMkLst>
        </pc:spChg>
        <pc:spChg chg="del">
          <ac:chgData name="Patrice Nivaggioli (pnivaggi)" userId="67e5b0e0-fc7f-4496-a07e-e7b17e1cb63b" providerId="ADAL" clId="{C7BA4851-E59F-A64B-A286-D4CDD140E369}" dt="2023-03-17T09:14:29.327" v="351" actId="478"/>
          <ac:spMkLst>
            <pc:docMk/>
            <pc:sldMk cId="4141210915" sldId="2142534061"/>
            <ac:spMk id="21506" creationId="{EC0517DA-6807-0D6E-EC6E-E8CE97E6A8B7}"/>
          </ac:spMkLst>
        </pc:spChg>
        <pc:spChg chg="del">
          <ac:chgData name="Patrice Nivaggioli (pnivaggi)" userId="67e5b0e0-fc7f-4496-a07e-e7b17e1cb63b" providerId="ADAL" clId="{C7BA4851-E59F-A64B-A286-D4CDD140E369}" dt="2023-03-17T09:14:29.327" v="351" actId="478"/>
          <ac:spMkLst>
            <pc:docMk/>
            <pc:sldMk cId="4141210915" sldId="2142534061"/>
            <ac:spMk id="21507" creationId="{EFB1CD67-C22C-263A-F944-09739335F008}"/>
          </ac:spMkLst>
        </pc:spChg>
        <pc:spChg chg="del mod">
          <ac:chgData name="Patrice Nivaggioli (pnivaggi)" userId="67e5b0e0-fc7f-4496-a07e-e7b17e1cb63b" providerId="ADAL" clId="{C7BA4851-E59F-A64B-A286-D4CDD140E369}" dt="2023-03-17T09:14:29.327" v="351" actId="478"/>
          <ac:spMkLst>
            <pc:docMk/>
            <pc:sldMk cId="4141210915" sldId="2142534061"/>
            <ac:spMk id="21509" creationId="{37EDFBAC-FF89-11EA-3465-37DCECC04931}"/>
          </ac:spMkLst>
        </pc:spChg>
        <pc:spChg chg="del">
          <ac:chgData name="Patrice Nivaggioli (pnivaggi)" userId="67e5b0e0-fc7f-4496-a07e-e7b17e1cb63b" providerId="ADAL" clId="{C7BA4851-E59F-A64B-A286-D4CDD140E369}" dt="2023-03-17T09:14:29.327" v="351" actId="478"/>
          <ac:spMkLst>
            <pc:docMk/>
            <pc:sldMk cId="4141210915" sldId="2142534061"/>
            <ac:spMk id="21510" creationId="{2BE62F53-E50B-E14F-8389-9E47AB8F0DC5}"/>
          </ac:spMkLst>
        </pc:spChg>
        <pc:spChg chg="del">
          <ac:chgData name="Patrice Nivaggioli (pnivaggi)" userId="67e5b0e0-fc7f-4496-a07e-e7b17e1cb63b" providerId="ADAL" clId="{C7BA4851-E59F-A64B-A286-D4CDD140E369}" dt="2023-03-17T09:14:29.327" v="351" actId="478"/>
          <ac:spMkLst>
            <pc:docMk/>
            <pc:sldMk cId="4141210915" sldId="2142534061"/>
            <ac:spMk id="21512" creationId="{C15DAB0C-AD99-A4BB-96DB-7920D12831F5}"/>
          </ac:spMkLst>
        </pc:spChg>
        <pc:spChg chg="mod">
          <ac:chgData name="Patrice Nivaggioli (pnivaggi)" userId="67e5b0e0-fc7f-4496-a07e-e7b17e1cb63b" providerId="ADAL" clId="{C7BA4851-E59F-A64B-A286-D4CDD140E369}" dt="2023-03-17T09:24:12.329" v="445" actId="1038"/>
          <ac:spMkLst>
            <pc:docMk/>
            <pc:sldMk cId="4141210915" sldId="2142534061"/>
            <ac:spMk id="21513" creationId="{04788B7D-4D13-C971-E01C-46F3B585FAE5}"/>
          </ac:spMkLst>
        </pc:spChg>
        <pc:spChg chg="mod">
          <ac:chgData name="Patrice Nivaggioli (pnivaggi)" userId="67e5b0e0-fc7f-4496-a07e-e7b17e1cb63b" providerId="ADAL" clId="{C7BA4851-E59F-A64B-A286-D4CDD140E369}" dt="2023-03-17T09:24:12.329" v="445" actId="1038"/>
          <ac:spMkLst>
            <pc:docMk/>
            <pc:sldMk cId="4141210915" sldId="2142534061"/>
            <ac:spMk id="21514" creationId="{1C1D9509-0141-2CAA-8D01-FB4C670726ED}"/>
          </ac:spMkLst>
        </pc:spChg>
        <pc:spChg chg="mod">
          <ac:chgData name="Patrice Nivaggioli (pnivaggi)" userId="67e5b0e0-fc7f-4496-a07e-e7b17e1cb63b" providerId="ADAL" clId="{C7BA4851-E59F-A64B-A286-D4CDD140E369}" dt="2023-03-17T09:24:12.329" v="445" actId="1038"/>
          <ac:spMkLst>
            <pc:docMk/>
            <pc:sldMk cId="4141210915" sldId="2142534061"/>
            <ac:spMk id="21515" creationId="{7D834291-7247-F654-8B2C-D7805CC6092D}"/>
          </ac:spMkLst>
        </pc:spChg>
        <pc:spChg chg="mod">
          <ac:chgData name="Patrice Nivaggioli (pnivaggi)" userId="67e5b0e0-fc7f-4496-a07e-e7b17e1cb63b" providerId="ADAL" clId="{C7BA4851-E59F-A64B-A286-D4CDD140E369}" dt="2023-03-17T09:24:12.329" v="445" actId="1038"/>
          <ac:spMkLst>
            <pc:docMk/>
            <pc:sldMk cId="4141210915" sldId="2142534061"/>
            <ac:spMk id="21516" creationId="{C77C2D3F-C5DA-B92D-5046-4CC2A5C09017}"/>
          </ac:spMkLst>
        </pc:spChg>
        <pc:picChg chg="add del mod">
          <ac:chgData name="Patrice Nivaggioli (pnivaggi)" userId="67e5b0e0-fc7f-4496-a07e-e7b17e1cb63b" providerId="ADAL" clId="{C7BA4851-E59F-A64B-A286-D4CDD140E369}" dt="2023-04-07T12:31:45.707" v="1232" actId="478"/>
          <ac:picMkLst>
            <pc:docMk/>
            <pc:sldMk cId="4141210915" sldId="2142534061"/>
            <ac:picMk id="1026" creationId="{EF931013-ACAB-F2FE-B7DA-18F8D375CE59}"/>
          </ac:picMkLst>
        </pc:picChg>
        <pc:cxnChg chg="mod">
          <ac:chgData name="Patrice Nivaggioli (pnivaggi)" userId="67e5b0e0-fc7f-4496-a07e-e7b17e1cb63b" providerId="ADAL" clId="{C7BA4851-E59F-A64B-A286-D4CDD140E369}" dt="2023-03-17T09:14:46.599" v="352" actId="1076"/>
          <ac:cxnSpMkLst>
            <pc:docMk/>
            <pc:sldMk cId="4141210915" sldId="2142534061"/>
            <ac:cxnSpMk id="5" creationId="{75CDC5D0-97FB-E64D-A1B5-4649DE06296A}"/>
          </ac:cxnSpMkLst>
        </pc:cxnChg>
      </pc:sldChg>
      <pc:sldChg chg="del">
        <pc:chgData name="Patrice Nivaggioli (pnivaggi)" userId="67e5b0e0-fc7f-4496-a07e-e7b17e1cb63b" providerId="ADAL" clId="{C7BA4851-E59F-A64B-A286-D4CDD140E369}" dt="2023-03-17T08:55:06.974" v="319" actId="2696"/>
        <pc:sldMkLst>
          <pc:docMk/>
          <pc:sldMk cId="1162053777" sldId="2147469670"/>
        </pc:sldMkLst>
      </pc:sldChg>
      <pc:sldChg chg="modSp mod">
        <pc:chgData name="Patrice Nivaggioli (pnivaggi)" userId="67e5b0e0-fc7f-4496-a07e-e7b17e1cb63b" providerId="ADAL" clId="{C7BA4851-E59F-A64B-A286-D4CDD140E369}" dt="2023-03-17T15:52:27.905" v="1192" actId="14100"/>
        <pc:sldMkLst>
          <pc:docMk/>
          <pc:sldMk cId="1463317190" sldId="2147471217"/>
        </pc:sldMkLst>
        <pc:spChg chg="mod">
          <ac:chgData name="Patrice Nivaggioli (pnivaggi)" userId="67e5b0e0-fc7f-4496-a07e-e7b17e1cb63b" providerId="ADAL" clId="{C7BA4851-E59F-A64B-A286-D4CDD140E369}" dt="2023-03-17T15:52:27.905" v="1192" actId="14100"/>
          <ac:spMkLst>
            <pc:docMk/>
            <pc:sldMk cId="1463317190" sldId="2147471217"/>
            <ac:spMk id="7" creationId="{923DCA34-CAA4-1F43-977F-D64C81671820}"/>
          </ac:spMkLst>
        </pc:spChg>
        <pc:spChg chg="mod">
          <ac:chgData name="Patrice Nivaggioli (pnivaggi)" userId="67e5b0e0-fc7f-4496-a07e-e7b17e1cb63b" providerId="ADAL" clId="{C7BA4851-E59F-A64B-A286-D4CDD140E369}" dt="2023-03-17T09:23:36.847" v="429" actId="20577"/>
          <ac:spMkLst>
            <pc:docMk/>
            <pc:sldMk cId="1463317190" sldId="2147471217"/>
            <ac:spMk id="368" creationId="{00000000-0000-0000-0000-000000000000}"/>
          </ac:spMkLst>
        </pc:spChg>
      </pc:sldChg>
      <pc:sldChg chg="del">
        <pc:chgData name="Patrice Nivaggioli (pnivaggi)" userId="67e5b0e0-fc7f-4496-a07e-e7b17e1cb63b" providerId="ADAL" clId="{C7BA4851-E59F-A64B-A286-D4CDD140E369}" dt="2023-03-16T17:13:48.853" v="35" actId="2696"/>
        <pc:sldMkLst>
          <pc:docMk/>
          <pc:sldMk cId="3516159261" sldId="2147471265"/>
        </pc:sldMkLst>
      </pc:sldChg>
      <pc:sldChg chg="delSp del mod ord">
        <pc:chgData name="Patrice Nivaggioli (pnivaggi)" userId="67e5b0e0-fc7f-4496-a07e-e7b17e1cb63b" providerId="ADAL" clId="{C7BA4851-E59F-A64B-A286-D4CDD140E369}" dt="2023-03-17T15:13:54.759" v="1021" actId="2696"/>
        <pc:sldMkLst>
          <pc:docMk/>
          <pc:sldMk cId="3148650000" sldId="2147471294"/>
        </pc:sldMkLst>
        <pc:spChg chg="del">
          <ac:chgData name="Patrice Nivaggioli (pnivaggi)" userId="67e5b0e0-fc7f-4496-a07e-e7b17e1cb63b" providerId="ADAL" clId="{C7BA4851-E59F-A64B-A286-D4CDD140E369}" dt="2023-03-17T08:54:25.532" v="316" actId="478"/>
          <ac:spMkLst>
            <pc:docMk/>
            <pc:sldMk cId="3148650000" sldId="2147471294"/>
            <ac:spMk id="8" creationId="{29305369-7F1D-02D4-9BFC-F96BE9CBE00C}"/>
          </ac:spMkLst>
        </pc:spChg>
      </pc:sldChg>
      <pc:sldChg chg="del">
        <pc:chgData name="Patrice Nivaggioli (pnivaggi)" userId="67e5b0e0-fc7f-4496-a07e-e7b17e1cb63b" providerId="ADAL" clId="{C7BA4851-E59F-A64B-A286-D4CDD140E369}" dt="2023-03-16T17:13:47.738" v="34" actId="2696"/>
        <pc:sldMkLst>
          <pc:docMk/>
          <pc:sldMk cId="2754465423" sldId="2147471295"/>
        </pc:sldMkLst>
      </pc:sldChg>
      <pc:sldChg chg="del">
        <pc:chgData name="Patrice Nivaggioli (pnivaggi)" userId="67e5b0e0-fc7f-4496-a07e-e7b17e1cb63b" providerId="ADAL" clId="{C7BA4851-E59F-A64B-A286-D4CDD140E369}" dt="2023-03-16T17:14:23.053" v="36" actId="2696"/>
        <pc:sldMkLst>
          <pc:docMk/>
          <pc:sldMk cId="743787134" sldId="2147471297"/>
        </pc:sldMkLst>
      </pc:sldChg>
      <pc:sldChg chg="modSp del mod modShow">
        <pc:chgData name="Patrice Nivaggioli (pnivaggi)" userId="67e5b0e0-fc7f-4496-a07e-e7b17e1cb63b" providerId="ADAL" clId="{C7BA4851-E59F-A64B-A286-D4CDD140E369}" dt="2023-04-12T16:20:51.697" v="1356" actId="2696"/>
        <pc:sldMkLst>
          <pc:docMk/>
          <pc:sldMk cId="2982927202" sldId="2147471322"/>
        </pc:sldMkLst>
        <pc:spChg chg="mod">
          <ac:chgData name="Patrice Nivaggioli (pnivaggi)" userId="67e5b0e0-fc7f-4496-a07e-e7b17e1cb63b" providerId="ADAL" clId="{C7BA4851-E59F-A64B-A286-D4CDD140E369}" dt="2023-03-17T15:20:28.259" v="1177" actId="20577"/>
          <ac:spMkLst>
            <pc:docMk/>
            <pc:sldMk cId="2982927202" sldId="2147471322"/>
            <ac:spMk id="10" creationId="{97721598-D02A-7E23-6DF3-6F696CD7DB7E}"/>
          </ac:spMkLst>
        </pc:spChg>
      </pc:sldChg>
      <pc:sldChg chg="delSp modSp mod">
        <pc:chgData name="Patrice Nivaggioli (pnivaggi)" userId="67e5b0e0-fc7f-4496-a07e-e7b17e1cb63b" providerId="ADAL" clId="{C7BA4851-E59F-A64B-A286-D4CDD140E369}" dt="2023-03-17T07:21:01.215" v="259" actId="20577"/>
        <pc:sldMkLst>
          <pc:docMk/>
          <pc:sldMk cId="3804278165" sldId="2147471326"/>
        </pc:sldMkLst>
        <pc:spChg chg="mod">
          <ac:chgData name="Patrice Nivaggioli (pnivaggi)" userId="67e5b0e0-fc7f-4496-a07e-e7b17e1cb63b" providerId="ADAL" clId="{C7BA4851-E59F-A64B-A286-D4CDD140E369}" dt="2023-03-16T17:18:26.126" v="168" actId="20577"/>
          <ac:spMkLst>
            <pc:docMk/>
            <pc:sldMk cId="3804278165" sldId="2147471326"/>
            <ac:spMk id="2" creationId="{F2DDDCCA-A7FF-46D6-92BF-47E1CF7FDD10}"/>
          </ac:spMkLst>
        </pc:spChg>
        <pc:spChg chg="mod">
          <ac:chgData name="Patrice Nivaggioli (pnivaggi)" userId="67e5b0e0-fc7f-4496-a07e-e7b17e1cb63b" providerId="ADAL" clId="{C7BA4851-E59F-A64B-A286-D4CDD140E369}" dt="2023-03-16T17:16:54.744" v="152" actId="20577"/>
          <ac:spMkLst>
            <pc:docMk/>
            <pc:sldMk cId="3804278165" sldId="2147471326"/>
            <ac:spMk id="6" creationId="{43B94C26-E377-D8C8-5C67-5184AF4770EB}"/>
          </ac:spMkLst>
        </pc:spChg>
        <pc:spChg chg="mod">
          <ac:chgData name="Patrice Nivaggioli (pnivaggi)" userId="67e5b0e0-fc7f-4496-a07e-e7b17e1cb63b" providerId="ADAL" clId="{C7BA4851-E59F-A64B-A286-D4CDD140E369}" dt="2023-03-17T07:21:01.215" v="259" actId="20577"/>
          <ac:spMkLst>
            <pc:docMk/>
            <pc:sldMk cId="3804278165" sldId="2147471326"/>
            <ac:spMk id="92" creationId="{820119F4-E7EF-C246-841E-6F5463756E59}"/>
          </ac:spMkLst>
        </pc:spChg>
        <pc:picChg chg="del">
          <ac:chgData name="Patrice Nivaggioli (pnivaggi)" userId="67e5b0e0-fc7f-4496-a07e-e7b17e1cb63b" providerId="ADAL" clId="{C7BA4851-E59F-A64B-A286-D4CDD140E369}" dt="2023-03-16T17:15:41.459" v="61" actId="478"/>
          <ac:picMkLst>
            <pc:docMk/>
            <pc:sldMk cId="3804278165" sldId="2147471326"/>
            <ac:picMk id="3" creationId="{70C1F66B-C269-028C-4037-B9C6642FD485}"/>
          </ac:picMkLst>
        </pc:picChg>
      </pc:sldChg>
      <pc:sldChg chg="addSp delSp modSp mod">
        <pc:chgData name="Patrice Nivaggioli (pnivaggi)" userId="67e5b0e0-fc7f-4496-a07e-e7b17e1cb63b" providerId="ADAL" clId="{C7BA4851-E59F-A64B-A286-D4CDD140E369}" dt="2023-03-17T14:14:56.459" v="505" actId="20577"/>
        <pc:sldMkLst>
          <pc:docMk/>
          <pc:sldMk cId="2531793733" sldId="2147471327"/>
        </pc:sldMkLst>
        <pc:spChg chg="mod">
          <ac:chgData name="Patrice Nivaggioli (pnivaggi)" userId="67e5b0e0-fc7f-4496-a07e-e7b17e1cb63b" providerId="ADAL" clId="{C7BA4851-E59F-A64B-A286-D4CDD140E369}" dt="2023-03-17T07:20:35.454" v="241" actId="20577"/>
          <ac:spMkLst>
            <pc:docMk/>
            <pc:sldMk cId="2531793733" sldId="2147471327"/>
            <ac:spMk id="2" creationId="{4E1F4E0B-5EFE-A5FC-6C30-B4974BA9FE6B}"/>
          </ac:spMkLst>
        </pc:spChg>
        <pc:spChg chg="add del mod">
          <ac:chgData name="Patrice Nivaggioli (pnivaggi)" userId="67e5b0e0-fc7f-4496-a07e-e7b17e1cb63b" providerId="ADAL" clId="{C7BA4851-E59F-A64B-A286-D4CDD140E369}" dt="2023-03-17T07:19:07.424" v="187"/>
          <ac:spMkLst>
            <pc:docMk/>
            <pc:sldMk cId="2531793733" sldId="2147471327"/>
            <ac:spMk id="4" creationId="{1BB3E722-A4D2-C3CC-6AB6-84E0925EB1EF}"/>
          </ac:spMkLst>
        </pc:spChg>
        <pc:spChg chg="add mod">
          <ac:chgData name="Patrice Nivaggioli (pnivaggi)" userId="67e5b0e0-fc7f-4496-a07e-e7b17e1cb63b" providerId="ADAL" clId="{C7BA4851-E59F-A64B-A286-D4CDD140E369}" dt="2023-03-17T09:06:55.954" v="336" actId="14100"/>
          <ac:spMkLst>
            <pc:docMk/>
            <pc:sldMk cId="2531793733" sldId="2147471327"/>
            <ac:spMk id="6" creationId="{D6B00451-7620-B9C0-3936-34DCBD701611}"/>
          </ac:spMkLst>
        </pc:spChg>
        <pc:spChg chg="mod">
          <ac:chgData name="Patrice Nivaggioli (pnivaggi)" userId="67e5b0e0-fc7f-4496-a07e-e7b17e1cb63b" providerId="ADAL" clId="{C7BA4851-E59F-A64B-A286-D4CDD140E369}" dt="2023-03-17T07:23:57.757" v="307" actId="20577"/>
          <ac:spMkLst>
            <pc:docMk/>
            <pc:sldMk cId="2531793733" sldId="2147471327"/>
            <ac:spMk id="92" creationId="{820119F4-E7EF-C246-841E-6F5463756E59}"/>
          </ac:spMkLst>
        </pc:spChg>
        <pc:spChg chg="mod">
          <ac:chgData name="Patrice Nivaggioli (pnivaggi)" userId="67e5b0e0-fc7f-4496-a07e-e7b17e1cb63b" providerId="ADAL" clId="{C7BA4851-E59F-A64B-A286-D4CDD140E369}" dt="2023-03-17T14:14:56.459" v="505" actId="20577"/>
          <ac:spMkLst>
            <pc:docMk/>
            <pc:sldMk cId="2531793733" sldId="2147471327"/>
            <ac:spMk id="94" creationId="{DA61ED47-52A2-4A4F-8EF9-A388F21702B9}"/>
          </ac:spMkLst>
        </pc:spChg>
      </pc:sldChg>
      <pc:sldChg chg="del">
        <pc:chgData name="Patrice Nivaggioli (pnivaggi)" userId="67e5b0e0-fc7f-4496-a07e-e7b17e1cb63b" providerId="ADAL" clId="{C7BA4851-E59F-A64B-A286-D4CDD140E369}" dt="2023-03-17T08:55:35.218" v="323" actId="2696"/>
        <pc:sldMkLst>
          <pc:docMk/>
          <pc:sldMk cId="4000055777" sldId="2147471328"/>
        </pc:sldMkLst>
      </pc:sldChg>
      <pc:sldChg chg="del">
        <pc:chgData name="Patrice Nivaggioli (pnivaggi)" userId="67e5b0e0-fc7f-4496-a07e-e7b17e1cb63b" providerId="ADAL" clId="{C7BA4851-E59F-A64B-A286-D4CDD140E369}" dt="2023-03-16T17:19:32.439" v="180" actId="2696"/>
        <pc:sldMkLst>
          <pc:docMk/>
          <pc:sldMk cId="2954463040" sldId="2147471331"/>
        </pc:sldMkLst>
      </pc:sldChg>
      <pc:sldChg chg="del">
        <pc:chgData name="Patrice Nivaggioli (pnivaggi)" userId="67e5b0e0-fc7f-4496-a07e-e7b17e1cb63b" providerId="ADAL" clId="{C7BA4851-E59F-A64B-A286-D4CDD140E369}" dt="2023-03-16T17:19:13.295" v="175" actId="2696"/>
        <pc:sldMkLst>
          <pc:docMk/>
          <pc:sldMk cId="4094408244" sldId="2147471333"/>
        </pc:sldMkLst>
      </pc:sldChg>
      <pc:sldChg chg="del">
        <pc:chgData name="Patrice Nivaggioli (pnivaggi)" userId="67e5b0e0-fc7f-4496-a07e-e7b17e1cb63b" providerId="ADAL" clId="{C7BA4851-E59F-A64B-A286-D4CDD140E369}" dt="2023-03-17T08:53:25.582" v="314" actId="2696"/>
        <pc:sldMkLst>
          <pc:docMk/>
          <pc:sldMk cId="2008208850" sldId="2147471334"/>
        </pc:sldMkLst>
      </pc:sldChg>
      <pc:sldChg chg="del">
        <pc:chgData name="Patrice Nivaggioli (pnivaggi)" userId="67e5b0e0-fc7f-4496-a07e-e7b17e1cb63b" providerId="ADAL" clId="{C7BA4851-E59F-A64B-A286-D4CDD140E369}" dt="2023-03-17T08:53:25.579" v="310" actId="2696"/>
        <pc:sldMkLst>
          <pc:docMk/>
          <pc:sldMk cId="1974819460" sldId="2147471335"/>
        </pc:sldMkLst>
      </pc:sldChg>
      <pc:sldChg chg="del">
        <pc:chgData name="Patrice Nivaggioli (pnivaggi)" userId="67e5b0e0-fc7f-4496-a07e-e7b17e1cb63b" providerId="ADAL" clId="{C7BA4851-E59F-A64B-A286-D4CDD140E369}" dt="2023-03-17T08:53:25.582" v="313" actId="2696"/>
        <pc:sldMkLst>
          <pc:docMk/>
          <pc:sldMk cId="4194662654" sldId="2147471336"/>
        </pc:sldMkLst>
      </pc:sldChg>
      <pc:sldChg chg="del">
        <pc:chgData name="Patrice Nivaggioli (pnivaggi)" userId="67e5b0e0-fc7f-4496-a07e-e7b17e1cb63b" providerId="ADAL" clId="{C7BA4851-E59F-A64B-A286-D4CDD140E369}" dt="2023-03-17T08:53:25.581" v="312" actId="2696"/>
        <pc:sldMkLst>
          <pc:docMk/>
          <pc:sldMk cId="168527445" sldId="2147471337"/>
        </pc:sldMkLst>
      </pc:sldChg>
      <pc:sldChg chg="del">
        <pc:chgData name="Patrice Nivaggioli (pnivaggi)" userId="67e5b0e0-fc7f-4496-a07e-e7b17e1cb63b" providerId="ADAL" clId="{C7BA4851-E59F-A64B-A286-D4CDD140E369}" dt="2023-03-17T08:53:25.580" v="311" actId="2696"/>
        <pc:sldMkLst>
          <pc:docMk/>
          <pc:sldMk cId="2294134040" sldId="2147471338"/>
        </pc:sldMkLst>
      </pc:sldChg>
      <pc:sldChg chg="del">
        <pc:chgData name="Patrice Nivaggioli (pnivaggi)" userId="67e5b0e0-fc7f-4496-a07e-e7b17e1cb63b" providerId="ADAL" clId="{C7BA4851-E59F-A64B-A286-D4CDD140E369}" dt="2023-03-17T08:53:25.578" v="309" actId="2696"/>
        <pc:sldMkLst>
          <pc:docMk/>
          <pc:sldMk cId="2734777097" sldId="2147471339"/>
        </pc:sldMkLst>
      </pc:sldChg>
      <pc:sldChg chg="del">
        <pc:chgData name="Patrice Nivaggioli (pnivaggi)" userId="67e5b0e0-fc7f-4496-a07e-e7b17e1cb63b" providerId="ADAL" clId="{C7BA4851-E59F-A64B-A286-D4CDD140E369}" dt="2023-03-17T08:53:25.577" v="308" actId="2696"/>
        <pc:sldMkLst>
          <pc:docMk/>
          <pc:sldMk cId="3390619957" sldId="2147471340"/>
        </pc:sldMkLst>
      </pc:sldChg>
      <pc:sldChg chg="del">
        <pc:chgData name="Patrice Nivaggioli (pnivaggi)" userId="67e5b0e0-fc7f-4496-a07e-e7b17e1cb63b" providerId="ADAL" clId="{C7BA4851-E59F-A64B-A286-D4CDD140E369}" dt="2023-03-17T08:53:25.583" v="315" actId="2696"/>
        <pc:sldMkLst>
          <pc:docMk/>
          <pc:sldMk cId="3420999776" sldId="2147471341"/>
        </pc:sldMkLst>
      </pc:sldChg>
      <pc:sldChg chg="del">
        <pc:chgData name="Patrice Nivaggioli (pnivaggi)" userId="67e5b0e0-fc7f-4496-a07e-e7b17e1cb63b" providerId="ADAL" clId="{C7BA4851-E59F-A64B-A286-D4CDD140E369}" dt="2023-03-17T08:55:10.981" v="320" actId="2696"/>
        <pc:sldMkLst>
          <pc:docMk/>
          <pc:sldMk cId="780947119" sldId="2147471342"/>
        </pc:sldMkLst>
      </pc:sldChg>
      <pc:sldChg chg="del">
        <pc:chgData name="Patrice Nivaggioli (pnivaggi)" userId="67e5b0e0-fc7f-4496-a07e-e7b17e1cb63b" providerId="ADAL" clId="{C7BA4851-E59F-A64B-A286-D4CDD140E369}" dt="2023-03-16T17:19:10.324" v="172" actId="2696"/>
        <pc:sldMkLst>
          <pc:docMk/>
          <pc:sldMk cId="2151901760" sldId="2147471344"/>
        </pc:sldMkLst>
      </pc:sldChg>
      <pc:sldChg chg="del">
        <pc:chgData name="Patrice Nivaggioli (pnivaggi)" userId="67e5b0e0-fc7f-4496-a07e-e7b17e1cb63b" providerId="ADAL" clId="{C7BA4851-E59F-A64B-A286-D4CDD140E369}" dt="2023-03-16T17:19:11.074" v="173" actId="2696"/>
        <pc:sldMkLst>
          <pc:docMk/>
          <pc:sldMk cId="835394582" sldId="2147471345"/>
        </pc:sldMkLst>
      </pc:sldChg>
      <pc:sldChg chg="del">
        <pc:chgData name="Patrice Nivaggioli (pnivaggi)" userId="67e5b0e0-fc7f-4496-a07e-e7b17e1cb63b" providerId="ADAL" clId="{C7BA4851-E59F-A64B-A286-D4CDD140E369}" dt="2023-03-16T17:19:11.734" v="174" actId="2696"/>
        <pc:sldMkLst>
          <pc:docMk/>
          <pc:sldMk cId="4032224566" sldId="2147471346"/>
        </pc:sldMkLst>
      </pc:sldChg>
      <pc:sldChg chg="del">
        <pc:chgData name="Patrice Nivaggioli (pnivaggi)" userId="67e5b0e0-fc7f-4496-a07e-e7b17e1cb63b" providerId="ADAL" clId="{C7BA4851-E59F-A64B-A286-D4CDD140E369}" dt="2023-03-16T17:19:14.583" v="176" actId="2696"/>
        <pc:sldMkLst>
          <pc:docMk/>
          <pc:sldMk cId="2705332050" sldId="2147471347"/>
        </pc:sldMkLst>
      </pc:sldChg>
      <pc:sldChg chg="del">
        <pc:chgData name="Patrice Nivaggioli (pnivaggi)" userId="67e5b0e0-fc7f-4496-a07e-e7b17e1cb63b" providerId="ADAL" clId="{C7BA4851-E59F-A64B-A286-D4CDD140E369}" dt="2023-03-16T17:19:16.232" v="177" actId="2696"/>
        <pc:sldMkLst>
          <pc:docMk/>
          <pc:sldMk cId="575030041" sldId="2147471348"/>
        </pc:sldMkLst>
      </pc:sldChg>
      <pc:sldChg chg="del">
        <pc:chgData name="Patrice Nivaggioli (pnivaggi)" userId="67e5b0e0-fc7f-4496-a07e-e7b17e1cb63b" providerId="ADAL" clId="{C7BA4851-E59F-A64B-A286-D4CDD140E369}" dt="2023-03-16T17:19:22.459" v="178" actId="2696"/>
        <pc:sldMkLst>
          <pc:docMk/>
          <pc:sldMk cId="2648517787" sldId="2147471349"/>
        </pc:sldMkLst>
      </pc:sldChg>
      <pc:sldChg chg="del">
        <pc:chgData name="Patrice Nivaggioli (pnivaggi)" userId="67e5b0e0-fc7f-4496-a07e-e7b17e1cb63b" providerId="ADAL" clId="{C7BA4851-E59F-A64B-A286-D4CDD140E369}" dt="2023-03-16T17:19:28.805" v="179" actId="2696"/>
        <pc:sldMkLst>
          <pc:docMk/>
          <pc:sldMk cId="2326157850" sldId="2147471350"/>
        </pc:sldMkLst>
      </pc:sldChg>
      <pc:sldChg chg="del">
        <pc:chgData name="Patrice Nivaggioli (pnivaggi)" userId="67e5b0e0-fc7f-4496-a07e-e7b17e1cb63b" providerId="ADAL" clId="{C7BA4851-E59F-A64B-A286-D4CDD140E369}" dt="2023-03-16T17:19:07.713" v="170" actId="2696"/>
        <pc:sldMkLst>
          <pc:docMk/>
          <pc:sldMk cId="391175310" sldId="2147471352"/>
        </pc:sldMkLst>
      </pc:sldChg>
      <pc:sldChg chg="del">
        <pc:chgData name="Patrice Nivaggioli (pnivaggi)" userId="67e5b0e0-fc7f-4496-a07e-e7b17e1cb63b" providerId="ADAL" clId="{C7BA4851-E59F-A64B-A286-D4CDD140E369}" dt="2023-03-16T17:19:09.410" v="171" actId="2696"/>
        <pc:sldMkLst>
          <pc:docMk/>
          <pc:sldMk cId="1718485018" sldId="2147471353"/>
        </pc:sldMkLst>
      </pc:sldChg>
      <pc:sldChg chg="delSp modSp mod ord">
        <pc:chgData name="Patrice Nivaggioli (pnivaggi)" userId="67e5b0e0-fc7f-4496-a07e-e7b17e1cb63b" providerId="ADAL" clId="{C7BA4851-E59F-A64B-A286-D4CDD140E369}" dt="2023-04-12T16:09:58.586" v="1233" actId="20578"/>
        <pc:sldMkLst>
          <pc:docMk/>
          <pc:sldMk cId="1473680318" sldId="2147471355"/>
        </pc:sldMkLst>
        <pc:spChg chg="mod">
          <ac:chgData name="Patrice Nivaggioli (pnivaggi)" userId="67e5b0e0-fc7f-4496-a07e-e7b17e1cb63b" providerId="ADAL" clId="{C7BA4851-E59F-A64B-A286-D4CDD140E369}" dt="2023-03-17T14:17:01.079" v="539" actId="20577"/>
          <ac:spMkLst>
            <pc:docMk/>
            <pc:sldMk cId="1473680318" sldId="2147471355"/>
            <ac:spMk id="2" creationId="{177C333F-5D2E-5F63-2403-D228CF8B3C26}"/>
          </ac:spMkLst>
        </pc:spChg>
        <pc:spChg chg="mod">
          <ac:chgData name="Patrice Nivaggioli (pnivaggi)" userId="67e5b0e0-fc7f-4496-a07e-e7b17e1cb63b" providerId="ADAL" clId="{C7BA4851-E59F-A64B-A286-D4CDD140E369}" dt="2023-03-17T15:14:43.500" v="1066" actId="20577"/>
          <ac:spMkLst>
            <pc:docMk/>
            <pc:sldMk cId="1473680318" sldId="2147471355"/>
            <ac:spMk id="3" creationId="{EE9D31B2-AA65-E735-EDB6-5832C8B5E7DC}"/>
          </ac:spMkLst>
        </pc:spChg>
        <pc:spChg chg="mod">
          <ac:chgData name="Patrice Nivaggioli (pnivaggi)" userId="67e5b0e0-fc7f-4496-a07e-e7b17e1cb63b" providerId="ADAL" clId="{C7BA4851-E59F-A64B-A286-D4CDD140E369}" dt="2023-03-17T14:36:54.614" v="736" actId="1076"/>
          <ac:spMkLst>
            <pc:docMk/>
            <pc:sldMk cId="1473680318" sldId="2147471355"/>
            <ac:spMk id="4" creationId="{5A9989C2-5D26-9A62-58C7-58D649FC39D3}"/>
          </ac:spMkLst>
        </pc:spChg>
        <pc:spChg chg="mod">
          <ac:chgData name="Patrice Nivaggioli (pnivaggi)" userId="67e5b0e0-fc7f-4496-a07e-e7b17e1cb63b" providerId="ADAL" clId="{C7BA4851-E59F-A64B-A286-D4CDD140E369}" dt="2023-03-17T14:36:54.614" v="736" actId="1076"/>
          <ac:spMkLst>
            <pc:docMk/>
            <pc:sldMk cId="1473680318" sldId="2147471355"/>
            <ac:spMk id="5" creationId="{EA19FC52-07AE-A358-3355-DD5D2311B659}"/>
          </ac:spMkLst>
        </pc:spChg>
        <pc:spChg chg="mod">
          <ac:chgData name="Patrice Nivaggioli (pnivaggi)" userId="67e5b0e0-fc7f-4496-a07e-e7b17e1cb63b" providerId="ADAL" clId="{C7BA4851-E59F-A64B-A286-D4CDD140E369}" dt="2023-03-17T14:36:54.614" v="736" actId="1076"/>
          <ac:spMkLst>
            <pc:docMk/>
            <pc:sldMk cId="1473680318" sldId="2147471355"/>
            <ac:spMk id="9" creationId="{FA428275-E218-26A2-A6BC-08217AECDE44}"/>
          </ac:spMkLst>
        </pc:spChg>
        <pc:spChg chg="mod">
          <ac:chgData name="Patrice Nivaggioli (pnivaggi)" userId="67e5b0e0-fc7f-4496-a07e-e7b17e1cb63b" providerId="ADAL" clId="{C7BA4851-E59F-A64B-A286-D4CDD140E369}" dt="2023-03-17T14:36:54.614" v="736" actId="1076"/>
          <ac:spMkLst>
            <pc:docMk/>
            <pc:sldMk cId="1473680318" sldId="2147471355"/>
            <ac:spMk id="25" creationId="{4CDFC584-1051-C055-D662-144AC4228506}"/>
          </ac:spMkLst>
        </pc:spChg>
        <pc:spChg chg="mod">
          <ac:chgData name="Patrice Nivaggioli (pnivaggi)" userId="67e5b0e0-fc7f-4496-a07e-e7b17e1cb63b" providerId="ADAL" clId="{C7BA4851-E59F-A64B-A286-D4CDD140E369}" dt="2023-03-17T14:36:54.614" v="736" actId="1076"/>
          <ac:spMkLst>
            <pc:docMk/>
            <pc:sldMk cId="1473680318" sldId="2147471355"/>
            <ac:spMk id="27" creationId="{027A29B9-C6D4-B487-46BF-4DCCBF60A919}"/>
          </ac:spMkLst>
        </pc:spChg>
        <pc:spChg chg="mod">
          <ac:chgData name="Patrice Nivaggioli (pnivaggi)" userId="67e5b0e0-fc7f-4496-a07e-e7b17e1cb63b" providerId="ADAL" clId="{C7BA4851-E59F-A64B-A286-D4CDD140E369}" dt="2023-03-17T14:36:54.614" v="736" actId="1076"/>
          <ac:spMkLst>
            <pc:docMk/>
            <pc:sldMk cId="1473680318" sldId="2147471355"/>
            <ac:spMk id="31" creationId="{E14BECCF-F451-99EF-89AF-7D015DE6AF73}"/>
          </ac:spMkLst>
        </pc:spChg>
        <pc:spChg chg="mod">
          <ac:chgData name="Patrice Nivaggioli (pnivaggi)" userId="67e5b0e0-fc7f-4496-a07e-e7b17e1cb63b" providerId="ADAL" clId="{C7BA4851-E59F-A64B-A286-D4CDD140E369}" dt="2023-03-17T14:36:54.614" v="736" actId="1076"/>
          <ac:spMkLst>
            <pc:docMk/>
            <pc:sldMk cId="1473680318" sldId="2147471355"/>
            <ac:spMk id="33" creationId="{9C2730CE-37C3-B4BA-772B-66C5EDA37FFF}"/>
          </ac:spMkLst>
        </pc:spChg>
        <pc:spChg chg="mod">
          <ac:chgData name="Patrice Nivaggioli (pnivaggi)" userId="67e5b0e0-fc7f-4496-a07e-e7b17e1cb63b" providerId="ADAL" clId="{C7BA4851-E59F-A64B-A286-D4CDD140E369}" dt="2023-03-17T14:36:54.614" v="736" actId="1076"/>
          <ac:spMkLst>
            <pc:docMk/>
            <pc:sldMk cId="1473680318" sldId="2147471355"/>
            <ac:spMk id="39" creationId="{C32914F8-D76B-DA7D-A240-FF7E21D7F931}"/>
          </ac:spMkLst>
        </pc:spChg>
        <pc:spChg chg="del">
          <ac:chgData name="Patrice Nivaggioli (pnivaggi)" userId="67e5b0e0-fc7f-4496-a07e-e7b17e1cb63b" providerId="ADAL" clId="{C7BA4851-E59F-A64B-A286-D4CDD140E369}" dt="2023-03-17T14:17:16.978" v="541" actId="478"/>
          <ac:spMkLst>
            <pc:docMk/>
            <pc:sldMk cId="1473680318" sldId="2147471355"/>
            <ac:spMk id="45" creationId="{68CCBDC0-8B3C-8415-781E-08931C44982A}"/>
          </ac:spMkLst>
        </pc:spChg>
        <pc:spChg chg="del">
          <ac:chgData name="Patrice Nivaggioli (pnivaggi)" userId="67e5b0e0-fc7f-4496-a07e-e7b17e1cb63b" providerId="ADAL" clId="{C7BA4851-E59F-A64B-A286-D4CDD140E369}" dt="2023-03-17T14:17:16.978" v="541" actId="478"/>
          <ac:spMkLst>
            <pc:docMk/>
            <pc:sldMk cId="1473680318" sldId="2147471355"/>
            <ac:spMk id="46" creationId="{55809E87-D157-6088-3DEB-EC58FE70617A}"/>
          </ac:spMkLst>
        </pc:spChg>
        <pc:spChg chg="del">
          <ac:chgData name="Patrice Nivaggioli (pnivaggi)" userId="67e5b0e0-fc7f-4496-a07e-e7b17e1cb63b" providerId="ADAL" clId="{C7BA4851-E59F-A64B-A286-D4CDD140E369}" dt="2023-03-17T14:17:12.342" v="540" actId="478"/>
          <ac:spMkLst>
            <pc:docMk/>
            <pc:sldMk cId="1473680318" sldId="2147471355"/>
            <ac:spMk id="57" creationId="{610D8B86-4914-1B5D-C3DD-91ED890ED4EF}"/>
          </ac:spMkLst>
        </pc:spChg>
        <pc:spChg chg="del">
          <ac:chgData name="Patrice Nivaggioli (pnivaggi)" userId="67e5b0e0-fc7f-4496-a07e-e7b17e1cb63b" providerId="ADAL" clId="{C7BA4851-E59F-A64B-A286-D4CDD140E369}" dt="2023-03-17T14:17:21.027" v="542" actId="478"/>
          <ac:spMkLst>
            <pc:docMk/>
            <pc:sldMk cId="1473680318" sldId="2147471355"/>
            <ac:spMk id="58" creationId="{DC3E36FF-63C7-7269-4242-BBCC45DEAD3C}"/>
          </ac:spMkLst>
        </pc:spChg>
        <pc:spChg chg="mod">
          <ac:chgData name="Patrice Nivaggioli (pnivaggi)" userId="67e5b0e0-fc7f-4496-a07e-e7b17e1cb63b" providerId="ADAL" clId="{C7BA4851-E59F-A64B-A286-D4CDD140E369}" dt="2023-03-17T14:36:54.614" v="736" actId="1076"/>
          <ac:spMkLst>
            <pc:docMk/>
            <pc:sldMk cId="1473680318" sldId="2147471355"/>
            <ac:spMk id="1025" creationId="{EE6B1907-21AC-8F77-791F-7B1895CC6049}"/>
          </ac:spMkLst>
        </pc:spChg>
        <pc:spChg chg="mod">
          <ac:chgData name="Patrice Nivaggioli (pnivaggi)" userId="67e5b0e0-fc7f-4496-a07e-e7b17e1cb63b" providerId="ADAL" clId="{C7BA4851-E59F-A64B-A286-D4CDD140E369}" dt="2023-03-17T14:36:54.614" v="736" actId="1076"/>
          <ac:spMkLst>
            <pc:docMk/>
            <pc:sldMk cId="1473680318" sldId="2147471355"/>
            <ac:spMk id="1027" creationId="{08E07B23-2949-4DA6-55FE-A012B5B90708}"/>
          </ac:spMkLst>
        </pc:spChg>
        <pc:spChg chg="mod">
          <ac:chgData name="Patrice Nivaggioli (pnivaggi)" userId="67e5b0e0-fc7f-4496-a07e-e7b17e1cb63b" providerId="ADAL" clId="{C7BA4851-E59F-A64B-A286-D4CDD140E369}" dt="2023-03-17T14:36:54.614" v="736" actId="1076"/>
          <ac:spMkLst>
            <pc:docMk/>
            <pc:sldMk cId="1473680318" sldId="2147471355"/>
            <ac:spMk id="1030" creationId="{4B2D7550-6E90-EFD2-C49F-67A5374815B3}"/>
          </ac:spMkLst>
        </pc:spChg>
        <pc:spChg chg="mod">
          <ac:chgData name="Patrice Nivaggioli (pnivaggi)" userId="67e5b0e0-fc7f-4496-a07e-e7b17e1cb63b" providerId="ADAL" clId="{C7BA4851-E59F-A64B-A286-D4CDD140E369}" dt="2023-03-17T14:36:54.614" v="736" actId="1076"/>
          <ac:spMkLst>
            <pc:docMk/>
            <pc:sldMk cId="1473680318" sldId="2147471355"/>
            <ac:spMk id="1034" creationId="{DEAD1B9F-6595-096C-BBBE-D7C797BAEAA6}"/>
          </ac:spMkLst>
        </pc:spChg>
        <pc:spChg chg="mod">
          <ac:chgData name="Patrice Nivaggioli (pnivaggi)" userId="67e5b0e0-fc7f-4496-a07e-e7b17e1cb63b" providerId="ADAL" clId="{C7BA4851-E59F-A64B-A286-D4CDD140E369}" dt="2023-03-17T14:36:54.614" v="736" actId="1076"/>
          <ac:spMkLst>
            <pc:docMk/>
            <pc:sldMk cId="1473680318" sldId="2147471355"/>
            <ac:spMk id="1035" creationId="{007F5CF3-94D8-0B62-1133-51756D63DDCD}"/>
          </ac:spMkLst>
        </pc:spChg>
        <pc:spChg chg="mod">
          <ac:chgData name="Patrice Nivaggioli (pnivaggi)" userId="67e5b0e0-fc7f-4496-a07e-e7b17e1cb63b" providerId="ADAL" clId="{C7BA4851-E59F-A64B-A286-D4CDD140E369}" dt="2023-03-17T14:36:54.614" v="736" actId="1076"/>
          <ac:spMkLst>
            <pc:docMk/>
            <pc:sldMk cId="1473680318" sldId="2147471355"/>
            <ac:spMk id="1037" creationId="{788410DC-30D7-33A1-C75A-B8A233A81E0F}"/>
          </ac:spMkLst>
        </pc:spChg>
        <pc:grpChg chg="mod">
          <ac:chgData name="Patrice Nivaggioli (pnivaggi)" userId="67e5b0e0-fc7f-4496-a07e-e7b17e1cb63b" providerId="ADAL" clId="{C7BA4851-E59F-A64B-A286-D4CDD140E369}" dt="2023-03-17T14:36:54.614" v="736" actId="1076"/>
          <ac:grpSpMkLst>
            <pc:docMk/>
            <pc:sldMk cId="1473680318" sldId="2147471355"/>
            <ac:grpSpMk id="40" creationId="{9469D2AB-569A-4D65-AA87-58506C3B2E18}"/>
          </ac:grpSpMkLst>
        </pc:grpChg>
        <pc:picChg chg="mod">
          <ac:chgData name="Patrice Nivaggioli (pnivaggi)" userId="67e5b0e0-fc7f-4496-a07e-e7b17e1cb63b" providerId="ADAL" clId="{C7BA4851-E59F-A64B-A286-D4CDD140E369}" dt="2023-03-17T14:36:54.614" v="736" actId="1076"/>
          <ac:picMkLst>
            <pc:docMk/>
            <pc:sldMk cId="1473680318" sldId="2147471355"/>
            <ac:picMk id="26" creationId="{9DD0A36F-78D3-BBA7-321A-5C2D710A2F01}"/>
          </ac:picMkLst>
        </pc:picChg>
        <pc:picChg chg="mod">
          <ac:chgData name="Patrice Nivaggioli (pnivaggi)" userId="67e5b0e0-fc7f-4496-a07e-e7b17e1cb63b" providerId="ADAL" clId="{C7BA4851-E59F-A64B-A286-D4CDD140E369}" dt="2023-03-17T14:36:54.614" v="736" actId="1076"/>
          <ac:picMkLst>
            <pc:docMk/>
            <pc:sldMk cId="1473680318" sldId="2147471355"/>
            <ac:picMk id="28" creationId="{B4BB9BA6-8F15-1303-5013-3FACA2FA6845}"/>
          </ac:picMkLst>
        </pc:picChg>
        <pc:picChg chg="mod">
          <ac:chgData name="Patrice Nivaggioli (pnivaggi)" userId="67e5b0e0-fc7f-4496-a07e-e7b17e1cb63b" providerId="ADAL" clId="{C7BA4851-E59F-A64B-A286-D4CDD140E369}" dt="2023-03-17T14:36:54.614" v="736" actId="1076"/>
          <ac:picMkLst>
            <pc:docMk/>
            <pc:sldMk cId="1473680318" sldId="2147471355"/>
            <ac:picMk id="29" creationId="{09030B8B-6433-C705-9849-39E4AB5FE045}"/>
          </ac:picMkLst>
        </pc:picChg>
        <pc:picChg chg="mod">
          <ac:chgData name="Patrice Nivaggioli (pnivaggi)" userId="67e5b0e0-fc7f-4496-a07e-e7b17e1cb63b" providerId="ADAL" clId="{C7BA4851-E59F-A64B-A286-D4CDD140E369}" dt="2023-03-17T14:36:54.614" v="736" actId="1076"/>
          <ac:picMkLst>
            <pc:docMk/>
            <pc:sldMk cId="1473680318" sldId="2147471355"/>
            <ac:picMk id="30" creationId="{9CF89A44-A54E-72C7-D914-E4A3E4F27F8F}"/>
          </ac:picMkLst>
        </pc:picChg>
        <pc:picChg chg="mod">
          <ac:chgData name="Patrice Nivaggioli (pnivaggi)" userId="67e5b0e0-fc7f-4496-a07e-e7b17e1cb63b" providerId="ADAL" clId="{C7BA4851-E59F-A64B-A286-D4CDD140E369}" dt="2023-03-17T14:36:54.614" v="736" actId="1076"/>
          <ac:picMkLst>
            <pc:docMk/>
            <pc:sldMk cId="1473680318" sldId="2147471355"/>
            <ac:picMk id="32" creationId="{6BFC4076-D09A-2250-2942-23415463E689}"/>
          </ac:picMkLst>
        </pc:picChg>
        <pc:picChg chg="mod">
          <ac:chgData name="Patrice Nivaggioli (pnivaggi)" userId="67e5b0e0-fc7f-4496-a07e-e7b17e1cb63b" providerId="ADAL" clId="{C7BA4851-E59F-A64B-A286-D4CDD140E369}" dt="2023-03-17T14:36:54.614" v="736" actId="1076"/>
          <ac:picMkLst>
            <pc:docMk/>
            <pc:sldMk cId="1473680318" sldId="2147471355"/>
            <ac:picMk id="38" creationId="{302934C3-22D3-9F54-5194-05CFBAF20142}"/>
          </ac:picMkLst>
        </pc:picChg>
        <pc:picChg chg="del">
          <ac:chgData name="Patrice Nivaggioli (pnivaggi)" userId="67e5b0e0-fc7f-4496-a07e-e7b17e1cb63b" providerId="ADAL" clId="{C7BA4851-E59F-A64B-A286-D4CDD140E369}" dt="2023-03-17T14:17:16.978" v="541" actId="478"/>
          <ac:picMkLst>
            <pc:docMk/>
            <pc:sldMk cId="1473680318" sldId="2147471355"/>
            <ac:picMk id="41" creationId="{6814A424-97C2-4457-1559-D492F77CAE54}"/>
          </ac:picMkLst>
        </pc:picChg>
        <pc:picChg chg="mod">
          <ac:chgData name="Patrice Nivaggioli (pnivaggi)" userId="67e5b0e0-fc7f-4496-a07e-e7b17e1cb63b" providerId="ADAL" clId="{C7BA4851-E59F-A64B-A286-D4CDD140E369}" dt="2023-03-17T14:36:54.614" v="736" actId="1076"/>
          <ac:picMkLst>
            <pc:docMk/>
            <pc:sldMk cId="1473680318" sldId="2147471355"/>
            <ac:picMk id="1029" creationId="{660D8DF8-D354-496D-5DE5-1C532CCC2CEC}"/>
          </ac:picMkLst>
        </pc:picChg>
        <pc:picChg chg="mod">
          <ac:chgData name="Patrice Nivaggioli (pnivaggi)" userId="67e5b0e0-fc7f-4496-a07e-e7b17e1cb63b" providerId="ADAL" clId="{C7BA4851-E59F-A64B-A286-D4CDD140E369}" dt="2023-03-17T14:36:54.614" v="736" actId="1076"/>
          <ac:picMkLst>
            <pc:docMk/>
            <pc:sldMk cId="1473680318" sldId="2147471355"/>
            <ac:picMk id="1036" creationId="{2BF2D5F0-2668-7E98-6CA5-3BC9508E3E9D}"/>
          </ac:picMkLst>
        </pc:picChg>
        <pc:picChg chg="mod">
          <ac:chgData name="Patrice Nivaggioli (pnivaggi)" userId="67e5b0e0-fc7f-4496-a07e-e7b17e1cb63b" providerId="ADAL" clId="{C7BA4851-E59F-A64B-A286-D4CDD140E369}" dt="2023-03-17T14:36:54.614" v="736" actId="1076"/>
          <ac:picMkLst>
            <pc:docMk/>
            <pc:sldMk cId="1473680318" sldId="2147471355"/>
            <ac:picMk id="1038" creationId="{9815D12F-1373-7019-3A3C-6C55A04480AA}"/>
          </ac:picMkLst>
        </pc:picChg>
        <pc:picChg chg="mod">
          <ac:chgData name="Patrice Nivaggioli (pnivaggi)" userId="67e5b0e0-fc7f-4496-a07e-e7b17e1cb63b" providerId="ADAL" clId="{C7BA4851-E59F-A64B-A286-D4CDD140E369}" dt="2023-03-17T14:36:54.614" v="736" actId="1076"/>
          <ac:picMkLst>
            <pc:docMk/>
            <pc:sldMk cId="1473680318" sldId="2147471355"/>
            <ac:picMk id="1039" creationId="{6690892A-50C9-9B72-4F7A-2E3D1D3AC9F2}"/>
          </ac:picMkLst>
        </pc:picChg>
        <pc:picChg chg="mod">
          <ac:chgData name="Patrice Nivaggioli (pnivaggi)" userId="67e5b0e0-fc7f-4496-a07e-e7b17e1cb63b" providerId="ADAL" clId="{C7BA4851-E59F-A64B-A286-D4CDD140E369}" dt="2023-03-17T14:36:54.614" v="736" actId="1076"/>
          <ac:picMkLst>
            <pc:docMk/>
            <pc:sldMk cId="1473680318" sldId="2147471355"/>
            <ac:picMk id="1042" creationId="{97EF68CF-83ED-EA97-63E7-C69791065698}"/>
          </ac:picMkLst>
        </pc:picChg>
        <pc:cxnChg chg="del">
          <ac:chgData name="Patrice Nivaggioli (pnivaggi)" userId="67e5b0e0-fc7f-4496-a07e-e7b17e1cb63b" providerId="ADAL" clId="{C7BA4851-E59F-A64B-A286-D4CDD140E369}" dt="2023-03-17T14:17:16.978" v="541" actId="478"/>
          <ac:cxnSpMkLst>
            <pc:docMk/>
            <pc:sldMk cId="1473680318" sldId="2147471355"/>
            <ac:cxnSpMk id="43" creationId="{93B8D690-32BC-E2FD-CC79-033489C02CB9}"/>
          </ac:cxnSpMkLst>
        </pc:cxnChg>
        <pc:cxnChg chg="del">
          <ac:chgData name="Patrice Nivaggioli (pnivaggi)" userId="67e5b0e0-fc7f-4496-a07e-e7b17e1cb63b" providerId="ADAL" clId="{C7BA4851-E59F-A64B-A286-D4CDD140E369}" dt="2023-03-17T14:17:16.978" v="541" actId="478"/>
          <ac:cxnSpMkLst>
            <pc:docMk/>
            <pc:sldMk cId="1473680318" sldId="2147471355"/>
            <ac:cxnSpMk id="44" creationId="{96DB69A3-257D-CB66-8350-DF5B698441B0}"/>
          </ac:cxnSpMkLst>
        </pc:cxnChg>
        <pc:cxnChg chg="del">
          <ac:chgData name="Patrice Nivaggioli (pnivaggi)" userId="67e5b0e0-fc7f-4496-a07e-e7b17e1cb63b" providerId="ADAL" clId="{C7BA4851-E59F-A64B-A286-D4CDD140E369}" dt="2023-03-17T14:17:12.342" v="540" actId="478"/>
          <ac:cxnSpMkLst>
            <pc:docMk/>
            <pc:sldMk cId="1473680318" sldId="2147471355"/>
            <ac:cxnSpMk id="54" creationId="{BC6DD132-E7CB-014A-4CD5-5D6FC8BE3BDF}"/>
          </ac:cxnSpMkLst>
        </pc:cxnChg>
        <pc:cxnChg chg="mod">
          <ac:chgData name="Patrice Nivaggioli (pnivaggi)" userId="67e5b0e0-fc7f-4496-a07e-e7b17e1cb63b" providerId="ADAL" clId="{C7BA4851-E59F-A64B-A286-D4CDD140E369}" dt="2023-03-17T14:36:54.614" v="736" actId="1076"/>
          <ac:cxnSpMkLst>
            <pc:docMk/>
            <pc:sldMk cId="1473680318" sldId="2147471355"/>
            <ac:cxnSpMk id="62" creationId="{DABC3C3E-CB7F-BE2A-FBF9-D4BADC430E19}"/>
          </ac:cxnSpMkLst>
        </pc:cxnChg>
        <pc:cxnChg chg="mod">
          <ac:chgData name="Patrice Nivaggioli (pnivaggi)" userId="67e5b0e0-fc7f-4496-a07e-e7b17e1cb63b" providerId="ADAL" clId="{C7BA4851-E59F-A64B-A286-D4CDD140E369}" dt="2023-03-17T14:36:54.614" v="736" actId="1076"/>
          <ac:cxnSpMkLst>
            <pc:docMk/>
            <pc:sldMk cId="1473680318" sldId="2147471355"/>
            <ac:cxnSpMk id="1024" creationId="{03D28731-B8C5-F7C6-4291-931F47295EC0}"/>
          </ac:cxnSpMkLst>
        </pc:cxnChg>
        <pc:cxnChg chg="mod">
          <ac:chgData name="Patrice Nivaggioli (pnivaggi)" userId="67e5b0e0-fc7f-4496-a07e-e7b17e1cb63b" providerId="ADAL" clId="{C7BA4851-E59F-A64B-A286-D4CDD140E369}" dt="2023-03-17T14:36:54.614" v="736" actId="1076"/>
          <ac:cxnSpMkLst>
            <pc:docMk/>
            <pc:sldMk cId="1473680318" sldId="2147471355"/>
            <ac:cxnSpMk id="1028" creationId="{DC62ADBC-B008-8B10-F8F2-69B274CBF6F2}"/>
          </ac:cxnSpMkLst>
        </pc:cxnChg>
        <pc:cxnChg chg="mod">
          <ac:chgData name="Patrice Nivaggioli (pnivaggi)" userId="67e5b0e0-fc7f-4496-a07e-e7b17e1cb63b" providerId="ADAL" clId="{C7BA4851-E59F-A64B-A286-D4CDD140E369}" dt="2023-03-17T14:36:54.614" v="736" actId="1076"/>
          <ac:cxnSpMkLst>
            <pc:docMk/>
            <pc:sldMk cId="1473680318" sldId="2147471355"/>
            <ac:cxnSpMk id="1031" creationId="{72FFA0FC-E428-B7B6-5B80-A4E47E488331}"/>
          </ac:cxnSpMkLst>
        </pc:cxnChg>
      </pc:sldChg>
      <pc:sldChg chg="addSp delSp modSp mod ord">
        <pc:chgData name="Patrice Nivaggioli (pnivaggi)" userId="67e5b0e0-fc7f-4496-a07e-e7b17e1cb63b" providerId="ADAL" clId="{C7BA4851-E59F-A64B-A286-D4CDD140E369}" dt="2023-04-12T16:11:47.353" v="1237" actId="20578"/>
        <pc:sldMkLst>
          <pc:docMk/>
          <pc:sldMk cId="2953738879" sldId="2147471356"/>
        </pc:sldMkLst>
        <pc:spChg chg="mod">
          <ac:chgData name="Patrice Nivaggioli (pnivaggi)" userId="67e5b0e0-fc7f-4496-a07e-e7b17e1cb63b" providerId="ADAL" clId="{C7BA4851-E59F-A64B-A286-D4CDD140E369}" dt="2023-03-17T15:14:31.110" v="1058" actId="20577"/>
          <ac:spMkLst>
            <pc:docMk/>
            <pc:sldMk cId="2953738879" sldId="2147471356"/>
            <ac:spMk id="2" creationId="{177C333F-5D2E-5F63-2403-D228CF8B3C26}"/>
          </ac:spMkLst>
        </pc:spChg>
        <pc:spChg chg="del">
          <ac:chgData name="Patrice Nivaggioli (pnivaggi)" userId="67e5b0e0-fc7f-4496-a07e-e7b17e1cb63b" providerId="ADAL" clId="{C7BA4851-E59F-A64B-A286-D4CDD140E369}" dt="2023-03-17T15:16:10.460" v="1151" actId="478"/>
          <ac:spMkLst>
            <pc:docMk/>
            <pc:sldMk cId="2953738879" sldId="2147471356"/>
            <ac:spMk id="3" creationId="{EE9D31B2-AA65-E735-EDB6-5832C8B5E7DC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5" creationId="{EA19FC52-07AE-A358-3355-DD5D2311B659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7" creationId="{51712AD5-C774-CE4A-BD98-DBB191DF9170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8" creationId="{3BAF3E2D-139B-42F4-D08A-16C38B691E97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9" creationId="{FA428275-E218-26A2-A6BC-08217AECDE44}"/>
          </ac:spMkLst>
        </pc:spChg>
        <pc:spChg chg="add mod">
          <ac:chgData name="Patrice Nivaggioli (pnivaggi)" userId="67e5b0e0-fc7f-4496-a07e-e7b17e1cb63b" providerId="ADAL" clId="{C7BA4851-E59F-A64B-A286-D4CDD140E369}" dt="2023-03-17T15:16:10.460" v="1151" actId="478"/>
          <ac:spMkLst>
            <pc:docMk/>
            <pc:sldMk cId="2953738879" sldId="2147471356"/>
            <ac:spMk id="10" creationId="{DC4C3E5C-DDF7-16AC-D2FD-B36EAF698C5D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11" creationId="{66B57A96-3F3D-4F9D-80C0-9023CA070627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12" creationId="{0CA833B3-5FD0-76C8-B321-1510441EABD4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25" creationId="{4CDFC584-1051-C055-D662-144AC4228506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26" creationId="{7809818D-A84E-6D74-8C9A-B4E93F549E9F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27" creationId="{027A29B9-C6D4-B487-46BF-4DCCBF60A919}"/>
          </ac:spMkLst>
        </pc:spChg>
        <pc:spChg chg="add del mod">
          <ac:chgData name="Patrice Nivaggioli (pnivaggi)" userId="67e5b0e0-fc7f-4496-a07e-e7b17e1cb63b" providerId="ADAL" clId="{C7BA4851-E59F-A64B-A286-D4CDD140E369}" dt="2023-03-17T15:16:16.078" v="1154"/>
          <ac:spMkLst>
            <pc:docMk/>
            <pc:sldMk cId="2953738879" sldId="2147471356"/>
            <ac:spMk id="29" creationId="{C5E0E768-8DD9-38B6-4547-37C51BED2B2A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33" creationId="{72160CF8-B655-49E3-B44D-1A4ED17CCB80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35" creationId="{D7CD50F9-B099-9828-89AF-59E1780A78BB}"/>
          </ac:spMkLst>
        </pc:spChg>
        <pc:spChg chg="del mod">
          <ac:chgData name="Patrice Nivaggioli (pnivaggi)" userId="67e5b0e0-fc7f-4496-a07e-e7b17e1cb63b" providerId="ADAL" clId="{C7BA4851-E59F-A64B-A286-D4CDD140E369}" dt="2023-03-17T15:15:25.696" v="1111" actId="478"/>
          <ac:spMkLst>
            <pc:docMk/>
            <pc:sldMk cId="2953738879" sldId="2147471356"/>
            <ac:spMk id="37" creationId="{9F7A5B02-A480-AF7F-CA36-1C9B4952D20D}"/>
          </ac:spMkLst>
        </pc:spChg>
        <pc:spChg chg="mod">
          <ac:chgData name="Patrice Nivaggioli (pnivaggi)" userId="67e5b0e0-fc7f-4496-a07e-e7b17e1cb63b" providerId="ADAL" clId="{C7BA4851-E59F-A64B-A286-D4CDD140E369}" dt="2023-03-17T15:20:52.497" v="1179" actId="20577"/>
          <ac:spMkLst>
            <pc:docMk/>
            <pc:sldMk cId="2953738879" sldId="2147471356"/>
            <ac:spMk id="39" creationId="{C32914F8-D76B-DA7D-A240-FF7E21D7F931}"/>
          </ac:spMkLst>
        </pc:spChg>
        <pc:spChg chg="del">
          <ac:chgData name="Patrice Nivaggioli (pnivaggi)" userId="67e5b0e0-fc7f-4496-a07e-e7b17e1cb63b" providerId="ADAL" clId="{C7BA4851-E59F-A64B-A286-D4CDD140E369}" dt="2023-03-17T15:16:17.475" v="1155" actId="478"/>
          <ac:spMkLst>
            <pc:docMk/>
            <pc:sldMk cId="2953738879" sldId="2147471356"/>
            <ac:spMk id="45" creationId="{68CCBDC0-8B3C-8415-781E-08931C44982A}"/>
          </ac:spMkLst>
        </pc:spChg>
        <pc:spChg chg="del">
          <ac:chgData name="Patrice Nivaggioli (pnivaggi)" userId="67e5b0e0-fc7f-4496-a07e-e7b17e1cb63b" providerId="ADAL" clId="{C7BA4851-E59F-A64B-A286-D4CDD140E369}" dt="2023-03-17T15:16:17.475" v="1155" actId="478"/>
          <ac:spMkLst>
            <pc:docMk/>
            <pc:sldMk cId="2953738879" sldId="2147471356"/>
            <ac:spMk id="46" creationId="{55809E87-D157-6088-3DEB-EC58FE70617A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56" creationId="{66E8988D-022E-C3B1-2815-76AD9A0C3429}"/>
          </ac:spMkLst>
        </pc:spChg>
        <pc:spChg chg="del">
          <ac:chgData name="Patrice Nivaggioli (pnivaggi)" userId="67e5b0e0-fc7f-4496-a07e-e7b17e1cb63b" providerId="ADAL" clId="{C7BA4851-E59F-A64B-A286-D4CDD140E369}" dt="2023-03-17T15:16:02.026" v="1149" actId="478"/>
          <ac:spMkLst>
            <pc:docMk/>
            <pc:sldMk cId="2953738879" sldId="2147471356"/>
            <ac:spMk id="57" creationId="{610D8B86-4914-1B5D-C3DD-91ED890ED4EF}"/>
          </ac:spMkLst>
        </pc:spChg>
        <pc:spChg chg="del">
          <ac:chgData name="Patrice Nivaggioli (pnivaggi)" userId="67e5b0e0-fc7f-4496-a07e-e7b17e1cb63b" providerId="ADAL" clId="{C7BA4851-E59F-A64B-A286-D4CDD140E369}" dt="2023-03-17T15:16:06.045" v="1150" actId="478"/>
          <ac:spMkLst>
            <pc:docMk/>
            <pc:sldMk cId="2953738879" sldId="2147471356"/>
            <ac:spMk id="58" creationId="{DC3E36FF-63C7-7269-4242-BBCC45DEAD3C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60" creationId="{1A6692E1-A24E-BF6D-DE58-FD2D51E51FB5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1025" creationId="{EE6B1907-21AC-8F77-791F-7B1895CC6049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1028" creationId="{23212DC9-7159-B186-BE53-6A967211D870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1033" creationId="{F2AAB89D-B02C-5362-001D-17429AAF9321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1034" creationId="{D50055F5-0F4A-A322-C38F-4969E50D39F9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1035" creationId="{007F5CF3-94D8-0B62-1133-51756D63DDCD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1037" creationId="{788410DC-30D7-33A1-C75A-B8A233A81E0F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1045" creationId="{4A9BAFB9-FF2C-8A71-3453-B5288D014F52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1055" creationId="{C2A9E6D4-FD1C-F063-1E56-45B64CE8ED43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1060" creationId="{DA7963CD-6C8B-D98F-AB2B-40D1872061AC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1065" creationId="{A6C0C8BF-09E6-C5AA-BB2B-34502E7C05C7}"/>
          </ac:spMkLst>
        </pc:spChg>
        <pc:spChg chg="mod">
          <ac:chgData name="Patrice Nivaggioli (pnivaggi)" userId="67e5b0e0-fc7f-4496-a07e-e7b17e1cb63b" providerId="ADAL" clId="{C7BA4851-E59F-A64B-A286-D4CDD140E369}" dt="2023-03-17T15:16:50.028" v="1175" actId="1076"/>
          <ac:spMkLst>
            <pc:docMk/>
            <pc:sldMk cId="2953738879" sldId="2147471356"/>
            <ac:spMk id="1077" creationId="{C27B81C3-802B-7D74-2136-BD96BAE71D6A}"/>
          </ac:spMkLst>
        </pc:spChg>
        <pc:grpChg chg="mod">
          <ac:chgData name="Patrice Nivaggioli (pnivaggi)" userId="67e5b0e0-fc7f-4496-a07e-e7b17e1cb63b" providerId="ADAL" clId="{C7BA4851-E59F-A64B-A286-D4CDD140E369}" dt="2023-03-17T15:16:50.028" v="1175" actId="1076"/>
          <ac:grpSpMkLst>
            <pc:docMk/>
            <pc:sldMk cId="2953738879" sldId="2147471356"/>
            <ac:grpSpMk id="13" creationId="{EECFF50B-1A21-9BF6-8A45-294B42526376}"/>
          </ac:grpSpMkLst>
        </pc:grpChg>
        <pc:grpChg chg="mod">
          <ac:chgData name="Patrice Nivaggioli (pnivaggi)" userId="67e5b0e0-fc7f-4496-a07e-e7b17e1cb63b" providerId="ADAL" clId="{C7BA4851-E59F-A64B-A286-D4CDD140E369}" dt="2023-03-17T15:16:50.028" v="1175" actId="1076"/>
          <ac:grpSpMkLst>
            <pc:docMk/>
            <pc:sldMk cId="2953738879" sldId="2147471356"/>
            <ac:grpSpMk id="14" creationId="{CFE9593E-033F-1780-1CBE-ABA00B20641C}"/>
          </ac:grpSpMkLst>
        </pc:grpChg>
        <pc:grpChg chg="mod">
          <ac:chgData name="Patrice Nivaggioli (pnivaggi)" userId="67e5b0e0-fc7f-4496-a07e-e7b17e1cb63b" providerId="ADAL" clId="{C7BA4851-E59F-A64B-A286-D4CDD140E369}" dt="2023-03-17T15:16:50.028" v="1175" actId="1076"/>
          <ac:grpSpMkLst>
            <pc:docMk/>
            <pc:sldMk cId="2953738879" sldId="2147471356"/>
            <ac:grpSpMk id="18" creationId="{71694D24-B23C-999B-6D7D-2EE19A4FD6A1}"/>
          </ac:grpSpMkLst>
        </pc:grpChg>
        <pc:grpChg chg="mod">
          <ac:chgData name="Patrice Nivaggioli (pnivaggi)" userId="67e5b0e0-fc7f-4496-a07e-e7b17e1cb63b" providerId="ADAL" clId="{C7BA4851-E59F-A64B-A286-D4CDD140E369}" dt="2023-03-17T15:16:50.028" v="1175" actId="1076"/>
          <ac:grpSpMkLst>
            <pc:docMk/>
            <pc:sldMk cId="2953738879" sldId="2147471356"/>
            <ac:grpSpMk id="22" creationId="{F293A121-B231-F105-6972-AAECE25D91EF}"/>
          </ac:grpSpMkLst>
        </pc:grpChg>
        <pc:grpChg chg="mod">
          <ac:chgData name="Patrice Nivaggioli (pnivaggi)" userId="67e5b0e0-fc7f-4496-a07e-e7b17e1cb63b" providerId="ADAL" clId="{C7BA4851-E59F-A64B-A286-D4CDD140E369}" dt="2023-03-17T15:16:50.028" v="1175" actId="1076"/>
          <ac:grpSpMkLst>
            <pc:docMk/>
            <pc:sldMk cId="2953738879" sldId="2147471356"/>
            <ac:grpSpMk id="40" creationId="{9469D2AB-569A-4D65-AA87-58506C3B2E18}"/>
          </ac:grpSpMkLst>
        </pc:grpChg>
        <pc:grpChg chg="mod">
          <ac:chgData name="Patrice Nivaggioli (pnivaggi)" userId="67e5b0e0-fc7f-4496-a07e-e7b17e1cb63b" providerId="ADAL" clId="{C7BA4851-E59F-A64B-A286-D4CDD140E369}" dt="2023-03-17T15:16:50.028" v="1175" actId="1076"/>
          <ac:grpSpMkLst>
            <pc:docMk/>
            <pc:sldMk cId="2953738879" sldId="2147471356"/>
            <ac:grpSpMk id="47" creationId="{6D89E386-0DDD-69F7-1CA0-BD52EB116159}"/>
          </ac:grpSpMkLst>
        </pc:grpChg>
        <pc:grpChg chg="mod">
          <ac:chgData name="Patrice Nivaggioli (pnivaggi)" userId="67e5b0e0-fc7f-4496-a07e-e7b17e1cb63b" providerId="ADAL" clId="{C7BA4851-E59F-A64B-A286-D4CDD140E369}" dt="2023-03-17T15:16:50.028" v="1175" actId="1076"/>
          <ac:grpSpMkLst>
            <pc:docMk/>
            <pc:sldMk cId="2953738879" sldId="2147471356"/>
            <ac:grpSpMk id="51" creationId="{DFAF0555-9C62-980D-3AF4-0FBB1EB11F8A}"/>
          </ac:grpSpMkLst>
        </pc:grpChg>
        <pc:grpChg chg="mod">
          <ac:chgData name="Patrice Nivaggioli (pnivaggi)" userId="67e5b0e0-fc7f-4496-a07e-e7b17e1cb63b" providerId="ADAL" clId="{C7BA4851-E59F-A64B-A286-D4CDD140E369}" dt="2023-03-17T15:16:50.028" v="1175" actId="1076"/>
          <ac:grpSpMkLst>
            <pc:docMk/>
            <pc:sldMk cId="2953738879" sldId="2147471356"/>
            <ac:grpSpMk id="1051" creationId="{DD3EEB26-52FB-EA43-6B27-2E0D1754B66D}"/>
          </ac:grpSpMkLst>
        </pc:grpChg>
        <pc:grpChg chg="mod">
          <ac:chgData name="Patrice Nivaggioli (pnivaggi)" userId="67e5b0e0-fc7f-4496-a07e-e7b17e1cb63b" providerId="ADAL" clId="{C7BA4851-E59F-A64B-A286-D4CDD140E369}" dt="2023-03-17T15:16:50.028" v="1175" actId="1076"/>
          <ac:grpSpMkLst>
            <pc:docMk/>
            <pc:sldMk cId="2953738879" sldId="2147471356"/>
            <ac:grpSpMk id="1052" creationId="{3F296744-5799-6FBA-86FB-DA3D0803B165}"/>
          </ac:grpSpMkLst>
        </pc:grpChg>
        <pc:grpChg chg="mod">
          <ac:chgData name="Patrice Nivaggioli (pnivaggi)" userId="67e5b0e0-fc7f-4496-a07e-e7b17e1cb63b" providerId="ADAL" clId="{C7BA4851-E59F-A64B-A286-D4CDD140E369}" dt="2023-03-17T15:16:50.028" v="1175" actId="1076"/>
          <ac:grpSpMkLst>
            <pc:docMk/>
            <pc:sldMk cId="2953738879" sldId="2147471356"/>
            <ac:grpSpMk id="1057" creationId="{7FBC374E-2787-4621-7D99-7E485551FB12}"/>
          </ac:grpSpMkLst>
        </pc:grpChg>
        <pc:grpChg chg="mod">
          <ac:chgData name="Patrice Nivaggioli (pnivaggi)" userId="67e5b0e0-fc7f-4496-a07e-e7b17e1cb63b" providerId="ADAL" clId="{C7BA4851-E59F-A64B-A286-D4CDD140E369}" dt="2023-03-17T15:16:50.028" v="1175" actId="1076"/>
          <ac:grpSpMkLst>
            <pc:docMk/>
            <pc:sldMk cId="2953738879" sldId="2147471356"/>
            <ac:grpSpMk id="1062" creationId="{FEF05A90-0CFF-46BD-334F-EC823BAEE58B}"/>
          </ac:grpSpMkLst>
        </pc:grp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6" creationId="{63555DBA-894E-F97F-7207-4A62AF452C45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15" creationId="{54547CF3-5D5E-7331-BF4E-C33191974849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16" creationId="{DE2729E0-9D0B-89F3-56CE-3078050657EA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17" creationId="{81068DDA-C14C-0FAC-0691-16F1DB305477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19" creationId="{210D4B5A-EEF7-8885-6931-3361A4DF8D0E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20" creationId="{D31739FB-05EF-01DB-B99F-B83279690CA3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21" creationId="{D403C34C-92A4-CAFD-CFD7-173FAC86E0C7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23" creationId="{9516EC8F-42DD-504D-6671-0352E979B79C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24" creationId="{89499CC8-852F-95EF-66DD-D4FD238DC3BF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34" creationId="{16DCA114-8AB6-C8F4-AE36-5AAAE4923ECC}"/>
          </ac:picMkLst>
        </pc:picChg>
        <pc:picChg chg="del">
          <ac:chgData name="Patrice Nivaggioli (pnivaggi)" userId="67e5b0e0-fc7f-4496-a07e-e7b17e1cb63b" providerId="ADAL" clId="{C7BA4851-E59F-A64B-A286-D4CDD140E369}" dt="2023-03-17T15:15:21.707" v="1110" actId="478"/>
          <ac:picMkLst>
            <pc:docMk/>
            <pc:sldMk cId="2953738879" sldId="2147471356"/>
            <ac:picMk id="36" creationId="{A88F80D1-7EDD-C892-1444-DBA5F6C8AFD7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38" creationId="{302934C3-22D3-9F54-5194-05CFBAF20142}"/>
          </ac:picMkLst>
        </pc:picChg>
        <pc:picChg chg="del">
          <ac:chgData name="Patrice Nivaggioli (pnivaggi)" userId="67e5b0e0-fc7f-4496-a07e-e7b17e1cb63b" providerId="ADAL" clId="{C7BA4851-E59F-A64B-A286-D4CDD140E369}" dt="2023-03-17T15:16:06.045" v="1150" actId="478"/>
          <ac:picMkLst>
            <pc:docMk/>
            <pc:sldMk cId="2953738879" sldId="2147471356"/>
            <ac:picMk id="41" creationId="{6814A424-97C2-4457-1559-D492F77CAE54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42" creationId="{07B288F0-BD9A-ACAB-83E7-BF9486396AD5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48" creationId="{13852CF2-503E-BD58-3929-1B20218EBB2D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49" creationId="{3AC2402E-BB3A-8D47-895D-3F595E98B674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50" creationId="{A75B7D66-5704-FAFD-E807-583C78D1E038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52" creationId="{F588ADE4-51F0-9FAB-2016-CA27766E1A04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53" creationId="{61006733-94B7-C76E-8131-7F65DB812284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55" creationId="{C5E63456-1AD0-C3CB-ED1F-B18E2C3A6DDD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1026" creationId="{6F470532-8BDD-5F90-71EA-20CC5E126469}"/>
          </ac:picMkLst>
        </pc:picChg>
        <pc:picChg chg="del">
          <ac:chgData name="Patrice Nivaggioli (pnivaggi)" userId="67e5b0e0-fc7f-4496-a07e-e7b17e1cb63b" providerId="ADAL" clId="{C7BA4851-E59F-A64B-A286-D4CDD140E369}" dt="2023-03-17T15:15:17.926" v="1109" actId="478"/>
          <ac:picMkLst>
            <pc:docMk/>
            <pc:sldMk cId="2953738879" sldId="2147471356"/>
            <ac:picMk id="2050" creationId="{749D108B-C77E-8779-230F-BEB41D6EA7FB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2052" creationId="{0A605223-1C58-65DE-A0A6-5B9C687242B4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2054" creationId="{7E26CFBC-2816-8417-0CD2-6A1B2BB1BE10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2056" creationId="{C6A495F3-546E-8DCA-EF93-368C1D917EE2}"/>
          </ac:picMkLst>
        </pc:picChg>
        <pc:picChg chg="mod">
          <ac:chgData name="Patrice Nivaggioli (pnivaggi)" userId="67e5b0e0-fc7f-4496-a07e-e7b17e1cb63b" providerId="ADAL" clId="{C7BA4851-E59F-A64B-A286-D4CDD140E369}" dt="2023-03-17T15:16:50.028" v="1175" actId="1076"/>
          <ac:picMkLst>
            <pc:docMk/>
            <pc:sldMk cId="2953738879" sldId="2147471356"/>
            <ac:picMk id="2058" creationId="{2D1D7099-9597-3A78-C9B8-A05D520AC120}"/>
          </ac:picMkLst>
        </pc:pic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28" creationId="{BBA486FB-053D-27EB-DC64-AFCE484609C9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30" creationId="{07F7C639-8C13-5BFB-BAA2-E3E624D3626B}"/>
          </ac:cxnSpMkLst>
        </pc:cxnChg>
        <pc:cxnChg chg="del">
          <ac:chgData name="Patrice Nivaggioli (pnivaggi)" userId="67e5b0e0-fc7f-4496-a07e-e7b17e1cb63b" providerId="ADAL" clId="{C7BA4851-E59F-A64B-A286-D4CDD140E369}" dt="2023-03-17T15:16:17.475" v="1155" actId="478"/>
          <ac:cxnSpMkLst>
            <pc:docMk/>
            <pc:sldMk cId="2953738879" sldId="2147471356"/>
            <ac:cxnSpMk id="43" creationId="{93B8D690-32BC-E2FD-CC79-033489C02CB9}"/>
          </ac:cxnSpMkLst>
        </pc:cxnChg>
        <pc:cxnChg chg="del">
          <ac:chgData name="Patrice Nivaggioli (pnivaggi)" userId="67e5b0e0-fc7f-4496-a07e-e7b17e1cb63b" providerId="ADAL" clId="{C7BA4851-E59F-A64B-A286-D4CDD140E369}" dt="2023-03-17T15:16:17.475" v="1155" actId="478"/>
          <ac:cxnSpMkLst>
            <pc:docMk/>
            <pc:sldMk cId="2953738879" sldId="2147471356"/>
            <ac:cxnSpMk id="44" creationId="{96DB69A3-257D-CB66-8350-DF5B698441B0}"/>
          </ac:cxnSpMkLst>
        </pc:cxnChg>
        <pc:cxnChg chg="del">
          <ac:chgData name="Patrice Nivaggioli (pnivaggi)" userId="67e5b0e0-fc7f-4496-a07e-e7b17e1cb63b" providerId="ADAL" clId="{C7BA4851-E59F-A64B-A286-D4CDD140E369}" dt="2023-03-17T15:16:02.026" v="1149" actId="478"/>
          <ac:cxnSpMkLst>
            <pc:docMk/>
            <pc:sldMk cId="2953738879" sldId="2147471356"/>
            <ac:cxnSpMk id="54" creationId="{BC6DD132-E7CB-014A-4CD5-5D6FC8BE3BDF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61" creationId="{2D5778F4-5EB4-C39B-CBA9-CBB84D8BFDEC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62" creationId="{DABC3C3E-CB7F-BE2A-FBF9-D4BADC430E19}"/>
          </ac:cxnSpMkLst>
        </pc:cxnChg>
        <pc:cxnChg chg="mod">
          <ac:chgData name="Patrice Nivaggioli (pnivaggi)" userId="67e5b0e0-fc7f-4496-a07e-e7b17e1cb63b" providerId="ADAL" clId="{C7BA4851-E59F-A64B-A286-D4CDD140E369}" dt="2023-03-17T15:20:52.497" v="1179" actId="20577"/>
          <ac:cxnSpMkLst>
            <pc:docMk/>
            <pc:sldMk cId="2953738879" sldId="2147471356"/>
            <ac:cxnSpMk id="1024" creationId="{03D28731-B8C5-F7C6-4291-931F47295EC0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1029" creationId="{DDD9C065-290A-934A-0080-D0800B0B4416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1032" creationId="{AFA5A6C5-04DB-FC8F-9E81-D7D3746A0E22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1040" creationId="{2E29A5FF-9E83-5881-A5DB-3C79345261A6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1041" creationId="{87DC2A8E-5DF3-D5CF-8690-BED0E8490D53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1043" creationId="{070CF2C7-C478-2D8B-0401-C2A774CDC7D8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1046" creationId="{F576924A-7CD8-4A94-0579-BE97C03E4C2D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1050" creationId="{55D463F5-1F25-2D56-1DE6-1C57710135B7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1053" creationId="{4B0861B0-54D8-71C7-7F8A-AB000741E3B6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1054" creationId="{18D41111-C16E-8DCB-27DE-CA02974C6BBC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1056" creationId="{696E171E-7114-4FFA-9220-DF3CA5D5016C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1058" creationId="{3FC82DC4-8EAF-F8B5-0277-5F53121CC516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1059" creationId="{7D5020ED-CAA6-E95A-4F46-6A4ACF0D64BE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1061" creationId="{7D5F60DD-57F4-59C4-0105-BBB83B22DCA9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1063" creationId="{8F0B64D8-4914-1565-5A09-7B9FC79076C6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1064" creationId="{17B48302-9443-2843-57F7-C87FBBF8F03C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1066" creationId="{FF5B749E-9D6E-7553-9C33-BD7515B9C5B2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1068" creationId="{A9DACE70-A557-3807-4D46-23B668A59A61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1069" creationId="{3D97F2CB-F591-360F-641E-E1F61BC5452F}"/>
          </ac:cxnSpMkLst>
        </pc:cxnChg>
        <pc:cxnChg chg="mod">
          <ac:chgData name="Patrice Nivaggioli (pnivaggi)" userId="67e5b0e0-fc7f-4496-a07e-e7b17e1cb63b" providerId="ADAL" clId="{C7BA4851-E59F-A64B-A286-D4CDD140E369}" dt="2023-03-17T15:16:50.028" v="1175" actId="1076"/>
          <ac:cxnSpMkLst>
            <pc:docMk/>
            <pc:sldMk cId="2953738879" sldId="2147471356"/>
            <ac:cxnSpMk id="1072" creationId="{59DBA447-841B-D447-7AF0-DA3127E52A24}"/>
          </ac:cxnSpMkLst>
        </pc:cxnChg>
      </pc:sldChg>
      <pc:sldChg chg="ord">
        <pc:chgData name="Patrice Nivaggioli (pnivaggi)" userId="67e5b0e0-fc7f-4496-a07e-e7b17e1cb63b" providerId="ADAL" clId="{C7BA4851-E59F-A64B-A286-D4CDD140E369}" dt="2023-04-12T16:11:49.470" v="1238" actId="20578"/>
        <pc:sldMkLst>
          <pc:docMk/>
          <pc:sldMk cId="4271800626" sldId="2147471357"/>
        </pc:sldMkLst>
      </pc:sldChg>
      <pc:sldChg chg="delSp modSp add mod">
        <pc:chgData name="Patrice Nivaggioli (pnivaggi)" userId="67e5b0e0-fc7f-4496-a07e-e7b17e1cb63b" providerId="ADAL" clId="{C7BA4851-E59F-A64B-A286-D4CDD140E369}" dt="2023-04-07T12:31:30.331" v="1231" actId="20577"/>
        <pc:sldMkLst>
          <pc:docMk/>
          <pc:sldMk cId="282588362" sldId="2147471358"/>
        </pc:sldMkLst>
        <pc:spChg chg="mod">
          <ac:chgData name="Patrice Nivaggioli (pnivaggi)" userId="67e5b0e0-fc7f-4496-a07e-e7b17e1cb63b" providerId="ADAL" clId="{C7BA4851-E59F-A64B-A286-D4CDD140E369}" dt="2023-04-07T12:31:30.331" v="1231" actId="20577"/>
          <ac:spMkLst>
            <pc:docMk/>
            <pc:sldMk cId="282588362" sldId="2147471358"/>
            <ac:spMk id="3" creationId="{249EF573-36EA-764E-B784-AFDD4AE98341}"/>
          </ac:spMkLst>
        </pc:spChg>
        <pc:spChg chg="del">
          <ac:chgData name="Patrice Nivaggioli (pnivaggi)" userId="67e5b0e0-fc7f-4496-a07e-e7b17e1cb63b" providerId="ADAL" clId="{C7BA4851-E59F-A64B-A286-D4CDD140E369}" dt="2023-04-07T12:31:09.983" v="1197" actId="478"/>
          <ac:spMkLst>
            <pc:docMk/>
            <pc:sldMk cId="282588362" sldId="2147471358"/>
            <ac:spMk id="7" creationId="{8D02E88E-1716-F145-BD09-1A405F5CEABF}"/>
          </ac:spMkLst>
        </pc:spChg>
        <pc:spChg chg="del">
          <ac:chgData name="Patrice Nivaggioli (pnivaggi)" userId="67e5b0e0-fc7f-4496-a07e-e7b17e1cb63b" providerId="ADAL" clId="{C7BA4851-E59F-A64B-A286-D4CDD140E369}" dt="2023-04-07T12:31:09.983" v="1197" actId="478"/>
          <ac:spMkLst>
            <pc:docMk/>
            <pc:sldMk cId="282588362" sldId="2147471358"/>
            <ac:spMk id="8" creationId="{5D5F451F-9357-2147-81A9-EFFB8E9C02FC}"/>
          </ac:spMkLst>
        </pc:spChg>
        <pc:spChg chg="del">
          <ac:chgData name="Patrice Nivaggioli (pnivaggi)" userId="67e5b0e0-fc7f-4496-a07e-e7b17e1cb63b" providerId="ADAL" clId="{C7BA4851-E59F-A64B-A286-D4CDD140E369}" dt="2023-04-07T12:31:09.983" v="1197" actId="478"/>
          <ac:spMkLst>
            <pc:docMk/>
            <pc:sldMk cId="282588362" sldId="2147471358"/>
            <ac:spMk id="9" creationId="{28830440-A3CE-734B-8BE7-22B8CD695749}"/>
          </ac:spMkLst>
        </pc:spChg>
        <pc:spChg chg="del">
          <ac:chgData name="Patrice Nivaggioli (pnivaggi)" userId="67e5b0e0-fc7f-4496-a07e-e7b17e1cb63b" providerId="ADAL" clId="{C7BA4851-E59F-A64B-A286-D4CDD140E369}" dt="2023-04-07T12:31:09.983" v="1197" actId="478"/>
          <ac:spMkLst>
            <pc:docMk/>
            <pc:sldMk cId="282588362" sldId="2147471358"/>
            <ac:spMk id="10" creationId="{C154412E-50DE-D743-B652-351954120D8F}"/>
          </ac:spMkLst>
        </pc:spChg>
        <pc:spChg chg="del">
          <ac:chgData name="Patrice Nivaggioli (pnivaggi)" userId="67e5b0e0-fc7f-4496-a07e-e7b17e1cb63b" providerId="ADAL" clId="{C7BA4851-E59F-A64B-A286-D4CDD140E369}" dt="2023-04-07T12:31:09.983" v="1197" actId="478"/>
          <ac:spMkLst>
            <pc:docMk/>
            <pc:sldMk cId="282588362" sldId="2147471358"/>
            <ac:spMk id="11" creationId="{F114D27E-9AD2-0146-897C-A0F588EE3934}"/>
          </ac:spMkLst>
        </pc:spChg>
        <pc:spChg chg="del">
          <ac:chgData name="Patrice Nivaggioli (pnivaggi)" userId="67e5b0e0-fc7f-4496-a07e-e7b17e1cb63b" providerId="ADAL" clId="{C7BA4851-E59F-A64B-A286-D4CDD140E369}" dt="2023-04-07T12:31:09.983" v="1197" actId="478"/>
          <ac:spMkLst>
            <pc:docMk/>
            <pc:sldMk cId="282588362" sldId="2147471358"/>
            <ac:spMk id="12" creationId="{E03241ED-281C-4E4C-9ADC-88BE48CAF321}"/>
          </ac:spMkLst>
        </pc:spChg>
        <pc:spChg chg="del">
          <ac:chgData name="Patrice Nivaggioli (pnivaggi)" userId="67e5b0e0-fc7f-4496-a07e-e7b17e1cb63b" providerId="ADAL" clId="{C7BA4851-E59F-A64B-A286-D4CDD140E369}" dt="2023-04-07T12:31:09.983" v="1197" actId="478"/>
          <ac:spMkLst>
            <pc:docMk/>
            <pc:sldMk cId="282588362" sldId="2147471358"/>
            <ac:spMk id="13" creationId="{9690D1E6-E511-EB4F-8F5B-6180497DA7CF}"/>
          </ac:spMkLst>
        </pc:spChg>
        <pc:spChg chg="del">
          <ac:chgData name="Patrice Nivaggioli (pnivaggi)" userId="67e5b0e0-fc7f-4496-a07e-e7b17e1cb63b" providerId="ADAL" clId="{C7BA4851-E59F-A64B-A286-D4CDD140E369}" dt="2023-04-07T12:31:09.983" v="1197" actId="478"/>
          <ac:spMkLst>
            <pc:docMk/>
            <pc:sldMk cId="282588362" sldId="2147471358"/>
            <ac:spMk id="21513" creationId="{04788B7D-4D13-C971-E01C-46F3B585FAE5}"/>
          </ac:spMkLst>
        </pc:spChg>
        <pc:spChg chg="del">
          <ac:chgData name="Patrice Nivaggioli (pnivaggi)" userId="67e5b0e0-fc7f-4496-a07e-e7b17e1cb63b" providerId="ADAL" clId="{C7BA4851-E59F-A64B-A286-D4CDD140E369}" dt="2023-04-07T12:31:09.983" v="1197" actId="478"/>
          <ac:spMkLst>
            <pc:docMk/>
            <pc:sldMk cId="282588362" sldId="2147471358"/>
            <ac:spMk id="21514" creationId="{1C1D9509-0141-2CAA-8D01-FB4C670726ED}"/>
          </ac:spMkLst>
        </pc:spChg>
        <pc:spChg chg="del">
          <ac:chgData name="Patrice Nivaggioli (pnivaggi)" userId="67e5b0e0-fc7f-4496-a07e-e7b17e1cb63b" providerId="ADAL" clId="{C7BA4851-E59F-A64B-A286-D4CDD140E369}" dt="2023-04-07T12:31:09.983" v="1197" actId="478"/>
          <ac:spMkLst>
            <pc:docMk/>
            <pc:sldMk cId="282588362" sldId="2147471358"/>
            <ac:spMk id="21515" creationId="{7D834291-7247-F654-8B2C-D7805CC6092D}"/>
          </ac:spMkLst>
        </pc:spChg>
        <pc:spChg chg="del">
          <ac:chgData name="Patrice Nivaggioli (pnivaggi)" userId="67e5b0e0-fc7f-4496-a07e-e7b17e1cb63b" providerId="ADAL" clId="{C7BA4851-E59F-A64B-A286-D4CDD140E369}" dt="2023-04-07T12:31:09.983" v="1197" actId="478"/>
          <ac:spMkLst>
            <pc:docMk/>
            <pc:sldMk cId="282588362" sldId="2147471358"/>
            <ac:spMk id="21516" creationId="{C77C2D3F-C5DA-B92D-5046-4CC2A5C09017}"/>
          </ac:spMkLst>
        </pc:spChg>
        <pc:picChg chg="mod">
          <ac:chgData name="Patrice Nivaggioli (pnivaggi)" userId="67e5b0e0-fc7f-4496-a07e-e7b17e1cb63b" providerId="ADAL" clId="{C7BA4851-E59F-A64B-A286-D4CDD140E369}" dt="2023-04-07T12:31:16.903" v="1198" actId="1076"/>
          <ac:picMkLst>
            <pc:docMk/>
            <pc:sldMk cId="282588362" sldId="2147471358"/>
            <ac:picMk id="1026" creationId="{EF931013-ACAB-F2FE-B7DA-18F8D375CE59}"/>
          </ac:picMkLst>
        </pc:picChg>
        <pc:cxnChg chg="del">
          <ac:chgData name="Patrice Nivaggioli (pnivaggi)" userId="67e5b0e0-fc7f-4496-a07e-e7b17e1cb63b" providerId="ADAL" clId="{C7BA4851-E59F-A64B-A286-D4CDD140E369}" dt="2023-04-07T12:31:09.983" v="1197" actId="478"/>
          <ac:cxnSpMkLst>
            <pc:docMk/>
            <pc:sldMk cId="282588362" sldId="2147471358"/>
            <ac:cxnSpMk id="5" creationId="{75CDC5D0-97FB-E64D-A1B5-4649DE06296A}"/>
          </ac:cxnSpMkLst>
        </pc:cxnChg>
      </pc:sldChg>
      <pc:sldChg chg="addSp modSp new mod">
        <pc:chgData name="Patrice Nivaggioli (pnivaggi)" userId="67e5b0e0-fc7f-4496-a07e-e7b17e1cb63b" providerId="ADAL" clId="{C7BA4851-E59F-A64B-A286-D4CDD140E369}" dt="2023-04-13T09:53:27.495" v="1462" actId="20577"/>
        <pc:sldMkLst>
          <pc:docMk/>
          <pc:sldMk cId="4152056611" sldId="2147471359"/>
        </pc:sldMkLst>
        <pc:spChg chg="mod">
          <ac:chgData name="Patrice Nivaggioli (pnivaggi)" userId="67e5b0e0-fc7f-4496-a07e-e7b17e1cb63b" providerId="ADAL" clId="{C7BA4851-E59F-A64B-A286-D4CDD140E369}" dt="2023-04-12T16:15:24.338" v="1250" actId="20577"/>
          <ac:spMkLst>
            <pc:docMk/>
            <pc:sldMk cId="4152056611" sldId="2147471359"/>
            <ac:spMk id="2" creationId="{6247F958-B54F-5396-5319-5D0A4C933951}"/>
          </ac:spMkLst>
        </pc:spChg>
        <pc:spChg chg="mod">
          <ac:chgData name="Patrice Nivaggioli (pnivaggi)" userId="67e5b0e0-fc7f-4496-a07e-e7b17e1cb63b" providerId="ADAL" clId="{C7BA4851-E59F-A64B-A286-D4CDD140E369}" dt="2023-04-13T09:53:27.495" v="1462" actId="20577"/>
          <ac:spMkLst>
            <pc:docMk/>
            <pc:sldMk cId="4152056611" sldId="2147471359"/>
            <ac:spMk id="3" creationId="{0B434A85-EEC3-55E6-3827-8BC463449E3B}"/>
          </ac:spMkLst>
        </pc:spChg>
        <pc:picChg chg="add mod">
          <ac:chgData name="Patrice Nivaggioli (pnivaggi)" userId="67e5b0e0-fc7f-4496-a07e-e7b17e1cb63b" providerId="ADAL" clId="{C7BA4851-E59F-A64B-A286-D4CDD140E369}" dt="2023-04-13T09:49:38.392" v="1365" actId="1076"/>
          <ac:picMkLst>
            <pc:docMk/>
            <pc:sldMk cId="4152056611" sldId="2147471359"/>
            <ac:picMk id="1026" creationId="{3A1FA4CF-E88D-175B-D13C-85761E7B3C45}"/>
          </ac:picMkLst>
        </pc:picChg>
      </pc:sldChg>
      <pc:sldChg chg="addSp delSp modSp new mod">
        <pc:chgData name="Patrice Nivaggioli (pnivaggi)" userId="67e5b0e0-fc7f-4496-a07e-e7b17e1cb63b" providerId="ADAL" clId="{C7BA4851-E59F-A64B-A286-D4CDD140E369}" dt="2023-04-12T16:20:06.613" v="1355" actId="20577"/>
        <pc:sldMkLst>
          <pc:docMk/>
          <pc:sldMk cId="2741884920" sldId="2147471360"/>
        </pc:sldMkLst>
        <pc:spChg chg="mod">
          <ac:chgData name="Patrice Nivaggioli (pnivaggi)" userId="67e5b0e0-fc7f-4496-a07e-e7b17e1cb63b" providerId="ADAL" clId="{C7BA4851-E59F-A64B-A286-D4CDD140E369}" dt="2023-04-12T16:19:43.098" v="1319" actId="20577"/>
          <ac:spMkLst>
            <pc:docMk/>
            <pc:sldMk cId="2741884920" sldId="2147471360"/>
            <ac:spMk id="2" creationId="{A85A8B42-720D-E004-9391-78C4EDA9CD74}"/>
          </ac:spMkLst>
        </pc:spChg>
        <pc:spChg chg="del">
          <ac:chgData name="Patrice Nivaggioli (pnivaggi)" userId="67e5b0e0-fc7f-4496-a07e-e7b17e1cb63b" providerId="ADAL" clId="{C7BA4851-E59F-A64B-A286-D4CDD140E369}" dt="2023-04-12T16:18:57.867" v="1273" actId="478"/>
          <ac:spMkLst>
            <pc:docMk/>
            <pc:sldMk cId="2741884920" sldId="2147471360"/>
            <ac:spMk id="3" creationId="{96E8ECE7-3C10-CEC3-9929-21DAB29686EF}"/>
          </ac:spMkLst>
        </pc:spChg>
        <pc:spChg chg="mod">
          <ac:chgData name="Patrice Nivaggioli (pnivaggi)" userId="67e5b0e0-fc7f-4496-a07e-e7b17e1cb63b" providerId="ADAL" clId="{C7BA4851-E59F-A64B-A286-D4CDD140E369}" dt="2023-04-12T16:20:06.613" v="1355" actId="20577"/>
          <ac:spMkLst>
            <pc:docMk/>
            <pc:sldMk cId="2741884920" sldId="2147471360"/>
            <ac:spMk id="4" creationId="{896438AF-40F2-C946-9580-57382DBD52D0}"/>
          </ac:spMkLst>
        </pc:spChg>
        <pc:picChg chg="add mod">
          <ac:chgData name="Patrice Nivaggioli (pnivaggi)" userId="67e5b0e0-fc7f-4496-a07e-e7b17e1cb63b" providerId="ADAL" clId="{C7BA4851-E59F-A64B-A286-D4CDD140E369}" dt="2023-04-12T16:18:53.337" v="1272" actId="1076"/>
          <ac:picMkLst>
            <pc:docMk/>
            <pc:sldMk cId="2741884920" sldId="2147471360"/>
            <ac:picMk id="5" creationId="{71A0A546-6D51-DDAE-5A97-B82517B47BE4}"/>
          </ac:picMkLst>
        </pc:picChg>
      </pc:sldChg>
    </pc:docChg>
  </pc:docChgLst>
  <pc:docChgLst>
    <pc:chgData name="Patrice Nivaggioli (pnivaggi)" userId="67e5b0e0-fc7f-4496-a07e-e7b17e1cb63b" providerId="ADAL" clId="{C57CD8B6-2E1B-B948-B731-52091E76FE93}"/>
    <pc:docChg chg="addSld delSld modSld modSection">
      <pc:chgData name="Patrice Nivaggioli (pnivaggi)" userId="67e5b0e0-fc7f-4496-a07e-e7b17e1cb63b" providerId="ADAL" clId="{C57CD8B6-2E1B-B948-B731-52091E76FE93}" dt="2023-03-14T06:45:47.571" v="3"/>
      <pc:docMkLst>
        <pc:docMk/>
      </pc:docMkLst>
      <pc:sldChg chg="add del">
        <pc:chgData name="Patrice Nivaggioli (pnivaggi)" userId="67e5b0e0-fc7f-4496-a07e-e7b17e1cb63b" providerId="ADAL" clId="{C57CD8B6-2E1B-B948-B731-52091E76FE93}" dt="2023-03-14T06:45:47.571" v="3"/>
        <pc:sldMkLst>
          <pc:docMk/>
          <pc:sldMk cId="2949187000" sldId="262"/>
        </pc:sldMkLst>
      </pc:sldChg>
      <pc:sldChg chg="add del">
        <pc:chgData name="Patrice Nivaggioli (pnivaggi)" userId="67e5b0e0-fc7f-4496-a07e-e7b17e1cb63b" providerId="ADAL" clId="{C57CD8B6-2E1B-B948-B731-52091E76FE93}" dt="2023-03-14T06:45:47.571" v="3"/>
        <pc:sldMkLst>
          <pc:docMk/>
          <pc:sldMk cId="1473680318" sldId="2147471355"/>
        </pc:sldMkLst>
      </pc:sldChg>
      <pc:sldChg chg="add del">
        <pc:chgData name="Patrice Nivaggioli (pnivaggi)" userId="67e5b0e0-fc7f-4496-a07e-e7b17e1cb63b" providerId="ADAL" clId="{C57CD8B6-2E1B-B948-B731-52091E76FE93}" dt="2023-03-14T06:45:47.571" v="3"/>
        <pc:sldMkLst>
          <pc:docMk/>
          <pc:sldMk cId="2953738879" sldId="2147471356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56F108C-DCE3-194B-9028-D06A43D124E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F3FFA9B-794E-2640-8391-AAC917E1C2C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6C15DE-7A24-A945-BD77-A32E51FDF025}" type="datetimeFigureOut">
              <a:rPr lang="en-US" smtClean="0"/>
              <a:t>4/13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EB995F-3060-AD4F-B07A-22324FA4785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D0F6CE-75E0-6548-A08B-551B0657606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758121-6F92-2849-8833-D7392E94A4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7758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Google Shape;365;g10d18fcd6ad_0_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6" name="Google Shape;366;g10d18fcd6ad_0_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43198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46565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609585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b="0" kern="1200" dirty="0">
              <a:solidFill>
                <a:schemeClr val="tx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2AD806-9CED-0D41-9D00-8C6601C7001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955575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09D597-A493-7047-A75D-D5E190DFA20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1743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609585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b="0" kern="1200" dirty="0">
              <a:solidFill>
                <a:schemeClr val="tx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2AD806-9CED-0D41-9D00-8C6601C7001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746625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09D597-A493-7047-A75D-D5E190DFA20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31712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ADIENT BLUE_Divider" preserve="1">
  <p:cSld name="1_GRADIENT BLUE_Divider"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oogle Shape;275;p43"/>
          <p:cNvSpPr txBox="1">
            <a:spLocks noGrp="1"/>
          </p:cNvSpPr>
          <p:nvPr>
            <p:ph type="title"/>
          </p:nvPr>
        </p:nvSpPr>
        <p:spPr>
          <a:xfrm>
            <a:off x="437775" y="2205900"/>
            <a:ext cx="4627200" cy="73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t" anchorCtr="0">
            <a:noAutofit/>
          </a:bodyPr>
          <a:lstStyle>
            <a:lvl1pPr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 lvl="1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pic>
        <p:nvPicPr>
          <p:cNvPr id="4" name="Picture 3" descr="A picture containing outdoor object&#10;&#10;Description automatically generated">
            <a:extLst>
              <a:ext uri="{FF2B5EF4-FFF2-40B4-BE49-F238E27FC236}">
                <a16:creationId xmlns:a16="http://schemas.microsoft.com/office/drawing/2014/main" id="{DAB3E3F9-B25B-0643-9B1A-73644500B6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2661" y="591383"/>
            <a:ext cx="8275893" cy="6616404"/>
          </a:xfrm>
          <a:prstGeom prst="rect">
            <a:avLst/>
          </a:prstGeom>
        </p:spPr>
      </p:pic>
      <p:sp>
        <p:nvSpPr>
          <p:cNvPr id="2" name="Google Shape;17;p2">
            <a:extLst>
              <a:ext uri="{FF2B5EF4-FFF2-40B4-BE49-F238E27FC236}">
                <a16:creationId xmlns:a16="http://schemas.microsoft.com/office/drawing/2014/main" id="{39CBF80A-052B-2B39-1B08-5E8ADB7DA8BA}"/>
              </a:ext>
            </a:extLst>
          </p:cNvPr>
          <p:cNvSpPr/>
          <p:nvPr userDrawn="1"/>
        </p:nvSpPr>
        <p:spPr>
          <a:xfrm>
            <a:off x="697981" y="4896490"/>
            <a:ext cx="3401100" cy="15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1575" tIns="30775" rIns="61575" bIns="30775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b="0" i="0" u="none" strike="noStrike" cap="none" dirty="0">
                <a:solidFill>
                  <a:schemeClr val="dk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rPr>
              <a:t>© 2023 Cisco and/or its affiliates. All rights reserved.   Cisco Confidential</a:t>
            </a:r>
            <a:endParaRPr b="0" i="0" dirty="0">
              <a:solidFill>
                <a:schemeClr val="dk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06922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ADIENT BLUE_Divider 2">
  <p:cSld name="CUSTOM_4_1_2_2_2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44"/>
          <p:cNvSpPr txBox="1">
            <a:spLocks noGrp="1"/>
          </p:cNvSpPr>
          <p:nvPr>
            <p:ph type="title"/>
          </p:nvPr>
        </p:nvSpPr>
        <p:spPr>
          <a:xfrm>
            <a:off x="437776" y="2205900"/>
            <a:ext cx="4918500" cy="73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t" anchorCtr="0">
            <a:noAutofit/>
          </a:bodyPr>
          <a:lstStyle>
            <a:lvl1pPr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 lvl="1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pic>
        <p:nvPicPr>
          <p:cNvPr id="3" name="Picture 2" descr="Shape, polygon&#10;&#10;Description automatically generated">
            <a:extLst>
              <a:ext uri="{FF2B5EF4-FFF2-40B4-BE49-F238E27FC236}">
                <a16:creationId xmlns:a16="http://schemas.microsoft.com/office/drawing/2014/main" id="{3A7A6A74-E167-A745-8998-14D74B0BAD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9158" y="-1303246"/>
            <a:ext cx="9144000" cy="5143500"/>
          </a:xfrm>
          <a:prstGeom prst="rect">
            <a:avLst/>
          </a:prstGeom>
        </p:spPr>
      </p:pic>
      <p:sp>
        <p:nvSpPr>
          <p:cNvPr id="2" name="Google Shape;17;p2">
            <a:extLst>
              <a:ext uri="{FF2B5EF4-FFF2-40B4-BE49-F238E27FC236}">
                <a16:creationId xmlns:a16="http://schemas.microsoft.com/office/drawing/2014/main" id="{16FCF423-1E1B-53E3-A876-0BAA795D30E2}"/>
              </a:ext>
            </a:extLst>
          </p:cNvPr>
          <p:cNvSpPr/>
          <p:nvPr userDrawn="1"/>
        </p:nvSpPr>
        <p:spPr>
          <a:xfrm>
            <a:off x="697981" y="4896490"/>
            <a:ext cx="3401100" cy="15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1575" tIns="30775" rIns="61575" bIns="30775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b="0" i="0" u="none" strike="noStrike" cap="none" dirty="0">
                <a:solidFill>
                  <a:schemeClr val="dk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rPr>
              <a:t>© 2023 Cisco and/or its affiliates. All rights reserved.   Cisco Confidential</a:t>
            </a:r>
            <a:endParaRPr b="0" i="0" dirty="0">
              <a:solidFill>
                <a:schemeClr val="dk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RK_Divider Hero">
  <p:cSld name="Bullet_Title only_3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" name="Google Shape;114;p17"/>
          <p:cNvPicPr preferRelativeResize="0"/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38" y="0"/>
            <a:ext cx="9140325" cy="5143501"/>
          </a:xfrm>
          <a:prstGeom prst="rect">
            <a:avLst/>
          </a:prstGeom>
          <a:noFill/>
          <a:ln>
            <a:noFill/>
          </a:ln>
        </p:spPr>
      </p:pic>
      <p:sp>
        <p:nvSpPr>
          <p:cNvPr id="115" name="Google Shape;115;p17"/>
          <p:cNvSpPr txBox="1">
            <a:spLocks noGrp="1"/>
          </p:cNvSpPr>
          <p:nvPr>
            <p:ph type="title"/>
          </p:nvPr>
        </p:nvSpPr>
        <p:spPr>
          <a:xfrm>
            <a:off x="437771" y="2205900"/>
            <a:ext cx="4701300" cy="73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t" anchorCtr="0">
            <a:noAutofit/>
          </a:bodyPr>
          <a:lstStyle>
            <a:lvl1pPr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 lvl="1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2" name="Google Shape;17;p2">
            <a:extLst>
              <a:ext uri="{FF2B5EF4-FFF2-40B4-BE49-F238E27FC236}">
                <a16:creationId xmlns:a16="http://schemas.microsoft.com/office/drawing/2014/main" id="{F39EB217-4B1E-6EE6-7B97-D9075F150C23}"/>
              </a:ext>
            </a:extLst>
          </p:cNvPr>
          <p:cNvSpPr/>
          <p:nvPr userDrawn="1"/>
        </p:nvSpPr>
        <p:spPr>
          <a:xfrm>
            <a:off x="697981" y="4896490"/>
            <a:ext cx="3401100" cy="15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1575" tIns="30775" rIns="61575" bIns="30775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b="0" i="0" u="none" strike="noStrike" cap="none" dirty="0">
                <a:solidFill>
                  <a:schemeClr val="dk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rPr>
              <a:t>© 2023 Cisco and/or its affiliates. All rights reserved.   Cisco Confidential</a:t>
            </a:r>
            <a:endParaRPr b="0" i="0" dirty="0">
              <a:solidFill>
                <a:schemeClr val="dk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ADIENT DUSK_Divider_Right Half 1" preserve="1" userDrawn="1">
  <p:cSld name="1_GRADIENT DUSK_Divider_Right Half 1"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1C9FF52-487D-E149-8D65-5192EEE5121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14950" y="0"/>
            <a:ext cx="3829050" cy="46386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C8AE318C-A66B-B747-ACB9-F55989E70D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Google Shape;11;p1">
            <a:extLst>
              <a:ext uri="{FF2B5EF4-FFF2-40B4-BE49-F238E27FC236}">
                <a16:creationId xmlns:a16="http://schemas.microsoft.com/office/drawing/2014/main" id="{F61DAFE4-51E5-0E41-AB64-DDB27DACD491}"/>
              </a:ext>
            </a:extLst>
          </p:cNvPr>
          <p:cNvSpPr/>
          <p:nvPr userDrawn="1"/>
        </p:nvSpPr>
        <p:spPr>
          <a:xfrm>
            <a:off x="8717700" y="4903821"/>
            <a:ext cx="426300" cy="15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1575" tIns="30775" rIns="61575" bIns="30775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00" b="0" i="0" u="none" strike="noStrike" cap="none">
                <a:solidFill>
                  <a:schemeClr val="dk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rPr>
              <a:t>‹#›</a:t>
            </a:fld>
            <a:endParaRPr sz="800" b="0" i="0" u="none" strike="noStrike" cap="none" dirty="0">
              <a:solidFill>
                <a:schemeClr val="dk1"/>
              </a:solidFill>
              <a:latin typeface="CiscoSansTT ExtraLight" panose="020B0303020201020303" pitchFamily="34" charset="0"/>
              <a:ea typeface="Arial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19" name="Google Shape;256;p39">
            <a:extLst>
              <a:ext uri="{FF2B5EF4-FFF2-40B4-BE49-F238E27FC236}">
                <a16:creationId xmlns:a16="http://schemas.microsoft.com/office/drawing/2014/main" id="{920BC34A-0912-DA4E-A01B-7455489EC46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37771" y="2005604"/>
            <a:ext cx="4701300" cy="73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t" anchorCtr="0">
            <a:noAutofit/>
          </a:bodyPr>
          <a:lstStyle>
            <a:lvl1pPr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 b="0" i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  <a:lvl2pPr lvl="1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r>
              <a:rPr lang="en-US" dirty="0"/>
              <a:t>Speaker</a:t>
            </a:r>
            <a:br>
              <a:rPr lang="en-US" dirty="0"/>
            </a:br>
            <a:r>
              <a:rPr lang="en-US" dirty="0"/>
              <a:t>Slide</a:t>
            </a:r>
            <a:endParaRPr dirty="0"/>
          </a:p>
        </p:txBody>
      </p:sp>
      <p:sp>
        <p:nvSpPr>
          <p:cNvPr id="6" name="Google Shape;17;p2">
            <a:extLst>
              <a:ext uri="{FF2B5EF4-FFF2-40B4-BE49-F238E27FC236}">
                <a16:creationId xmlns:a16="http://schemas.microsoft.com/office/drawing/2014/main" id="{7E6B30BB-041C-A76B-2228-AD144E2440D0}"/>
              </a:ext>
            </a:extLst>
          </p:cNvPr>
          <p:cNvSpPr/>
          <p:nvPr userDrawn="1"/>
        </p:nvSpPr>
        <p:spPr>
          <a:xfrm>
            <a:off x="697981" y="4896490"/>
            <a:ext cx="3401100" cy="15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1575" tIns="30775" rIns="61575" bIns="30775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b="0" i="0" u="none" strike="noStrike" cap="none" dirty="0">
                <a:solidFill>
                  <a:schemeClr val="bg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rPr>
              <a:t>© 2023 Cisco and/or its affiliates. All rights reserved.   Cisco Confidential</a:t>
            </a:r>
            <a:endParaRPr b="0" i="0" dirty="0">
              <a:solidFill>
                <a:schemeClr val="bg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2907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RK_Title&amp;Text 2_Grid" userDrawn="1">
  <p:cSld name="1_DARK_Title&amp;Text 2_Grid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oogle Shape;13;p2"/>
          <p:cNvPicPr preferRelativeResize="0"/>
          <p:nvPr/>
        </p:nvPicPr>
        <p:blipFill rotWithShape="1"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796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2"/>
          <p:cNvSpPr txBox="1">
            <a:spLocks noGrp="1"/>
          </p:cNvSpPr>
          <p:nvPr>
            <p:ph type="title"/>
          </p:nvPr>
        </p:nvSpPr>
        <p:spPr>
          <a:xfrm>
            <a:off x="437775" y="341319"/>
            <a:ext cx="83454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t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8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 lvl="1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9" name="Google Shape;19;p2"/>
          <p:cNvSpPr txBox="1">
            <a:spLocks noGrp="1"/>
          </p:cNvSpPr>
          <p:nvPr>
            <p:ph type="subTitle" idx="3"/>
          </p:nvPr>
        </p:nvSpPr>
        <p:spPr>
          <a:xfrm>
            <a:off x="444100" y="699675"/>
            <a:ext cx="8341200" cy="348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b="0" i="0">
                <a:solidFill>
                  <a:schemeClr val="dk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subtitle style</a:t>
            </a:r>
            <a:endParaRPr dirty="0"/>
          </a:p>
        </p:txBody>
      </p:sp>
      <p:sp>
        <p:nvSpPr>
          <p:cNvPr id="4" name="Google Shape;17;p2">
            <a:extLst>
              <a:ext uri="{FF2B5EF4-FFF2-40B4-BE49-F238E27FC236}">
                <a16:creationId xmlns:a16="http://schemas.microsoft.com/office/drawing/2014/main" id="{1A523A51-7263-DB5F-E3A3-CAB2004D7169}"/>
              </a:ext>
            </a:extLst>
          </p:cNvPr>
          <p:cNvSpPr/>
          <p:nvPr userDrawn="1"/>
        </p:nvSpPr>
        <p:spPr>
          <a:xfrm>
            <a:off x="697981" y="4896490"/>
            <a:ext cx="3401100" cy="15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1575" tIns="30775" rIns="61575" bIns="30775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b="0" i="0" u="none" strike="noStrike" cap="none" dirty="0">
                <a:solidFill>
                  <a:schemeClr val="dk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rPr>
              <a:t>© 2023 Cisco and/or its affiliates. All rights reserved.   Cisco Confidential</a:t>
            </a:r>
            <a:endParaRPr b="0" i="0" dirty="0">
              <a:solidFill>
                <a:schemeClr val="dk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06BF7862-C3F6-FA84-0107-8641EAE12F9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2073" y="28055"/>
            <a:ext cx="1685705" cy="410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61835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ARK_Title&amp;Text 1_Grid">
  <p:cSld name="DARK_Title&amp;Text 1_Grid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"/>
          <p:cNvSpPr txBox="1">
            <a:spLocks noGrp="1"/>
          </p:cNvSpPr>
          <p:nvPr>
            <p:ph type="title"/>
          </p:nvPr>
        </p:nvSpPr>
        <p:spPr>
          <a:xfrm>
            <a:off x="437775" y="341319"/>
            <a:ext cx="83454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t" anchorCtr="0">
            <a:noAutofit/>
          </a:bodyPr>
          <a:lstStyle>
            <a:lvl1pPr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8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 lvl="1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25" name="Google Shape;25;p3"/>
          <p:cNvSpPr txBox="1">
            <a:spLocks noGrp="1"/>
          </p:cNvSpPr>
          <p:nvPr>
            <p:ph type="body" idx="1"/>
          </p:nvPr>
        </p:nvSpPr>
        <p:spPr>
          <a:xfrm>
            <a:off x="533399" y="1282098"/>
            <a:ext cx="3886200" cy="308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457200" marR="0" lvl="0" indent="-304800" algn="l" rtl="0">
              <a:lnSpc>
                <a:spcPct val="95000"/>
              </a:lnSpc>
              <a:spcBef>
                <a:spcPts val="111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iscoSansTT ExtraLight" panose="020B0303020201020303" pitchFamily="34" charset="0"/>
                <a:ea typeface="CiscoSansTT ExtraLight" panose="020B0303020201020303" pitchFamily="34" charset="0"/>
                <a:cs typeface="CiscoSansTT ExtraLight" panose="020B0303020201020303" pitchFamily="34" charset="0"/>
                <a:sym typeface="Arial"/>
              </a:defRPr>
            </a:lvl1pPr>
            <a:lvl2pPr marL="914400" marR="0" lvl="1" indent="-297180" algn="l" rtl="0">
              <a:lnSpc>
                <a:spcPct val="95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08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89560" algn="l" rtl="0">
              <a:lnSpc>
                <a:spcPct val="95000"/>
              </a:lnSpc>
              <a:spcBef>
                <a:spcPts val="625"/>
              </a:spcBef>
              <a:spcAft>
                <a:spcPts val="0"/>
              </a:spcAft>
              <a:buClr>
                <a:schemeClr val="dk1"/>
              </a:buClr>
              <a:buSzPts val="96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81939" algn="l" rtl="0">
              <a:lnSpc>
                <a:spcPct val="95000"/>
              </a:lnSpc>
              <a:spcBef>
                <a:spcPts val="625"/>
              </a:spcBef>
              <a:spcAft>
                <a:spcPts val="0"/>
              </a:spcAft>
              <a:buClr>
                <a:schemeClr val="dk1"/>
              </a:buClr>
              <a:buSzPts val="84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4320" algn="l" rtl="0">
              <a:lnSpc>
                <a:spcPct val="95000"/>
              </a:lnSpc>
              <a:spcBef>
                <a:spcPts val="625"/>
              </a:spcBef>
              <a:spcAft>
                <a:spcPts val="0"/>
              </a:spcAft>
              <a:buClr>
                <a:schemeClr val="dk1"/>
              </a:buClr>
              <a:buSzPts val="72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8575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Char char="•"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7940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Char char="•"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238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Google Shape;26;p3"/>
          <p:cNvSpPr txBox="1">
            <a:spLocks noGrp="1"/>
          </p:cNvSpPr>
          <p:nvPr>
            <p:ph type="subTitle" idx="2"/>
          </p:nvPr>
        </p:nvSpPr>
        <p:spPr>
          <a:xfrm>
            <a:off x="444100" y="699675"/>
            <a:ext cx="8341200" cy="348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b="0" i="0">
                <a:solidFill>
                  <a:schemeClr val="dk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subtitle style</a:t>
            </a:r>
            <a:endParaRPr dirty="0"/>
          </a:p>
        </p:txBody>
      </p:sp>
      <p:sp>
        <p:nvSpPr>
          <p:cNvPr id="2" name="Google Shape;17;p2">
            <a:extLst>
              <a:ext uri="{FF2B5EF4-FFF2-40B4-BE49-F238E27FC236}">
                <a16:creationId xmlns:a16="http://schemas.microsoft.com/office/drawing/2014/main" id="{AAFB6D82-93BF-008D-2957-6AE9E2957606}"/>
              </a:ext>
            </a:extLst>
          </p:cNvPr>
          <p:cNvSpPr/>
          <p:nvPr userDrawn="1"/>
        </p:nvSpPr>
        <p:spPr>
          <a:xfrm>
            <a:off x="697981" y="4896490"/>
            <a:ext cx="3401100" cy="15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1575" tIns="30775" rIns="61575" bIns="30775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b="0" i="0" u="none" strike="noStrike" cap="none" dirty="0">
                <a:solidFill>
                  <a:schemeClr val="dk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rPr>
              <a:t>© 2023 Cisco and/or its affiliates. All rights reserved.   Cisco Confidential</a:t>
            </a:r>
            <a:endParaRPr b="0" i="0" dirty="0">
              <a:solidFill>
                <a:schemeClr val="dk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EC59596-4708-B023-3DC4-715575CB546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2073" y="28055"/>
            <a:ext cx="1685705" cy="410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22757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F0258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0D337C6-AC2B-48B7-A4BF-FFD2E0B1FA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109275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4" imgH="344" progId="TCLayout.ActiveDocument.1">
                  <p:embed/>
                </p:oleObj>
              </mc:Choice>
              <mc:Fallback>
                <p:oleObj name="think-cell Slide" r:id="rId9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0D337C6-AC2B-48B7-A4BF-FFD2E0B1F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437775" y="341319"/>
            <a:ext cx="8345400" cy="34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t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1" name="Google Shape;11;p1"/>
          <p:cNvSpPr/>
          <p:nvPr/>
        </p:nvSpPr>
        <p:spPr>
          <a:xfrm>
            <a:off x="8570025" y="4918746"/>
            <a:ext cx="426300" cy="15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1575" tIns="30775" rIns="61575" bIns="30775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00" b="0" i="0" u="none" strike="noStrike" cap="none">
                <a:solidFill>
                  <a:schemeClr val="dk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rPr>
              <a:t>‹#›</a:t>
            </a:fld>
            <a:endParaRPr sz="800" b="0" i="0" u="none" strike="noStrike" cap="none" dirty="0">
              <a:solidFill>
                <a:schemeClr val="dk1"/>
              </a:solidFill>
              <a:latin typeface="CiscoSansTT ExtraLight" panose="020B0303020201020303" pitchFamily="34" charset="0"/>
              <a:ea typeface="Arial"/>
              <a:cs typeface="CiscoSansTT ExtraLight" panose="020B0303020201020303" pitchFamily="34" charset="0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718" r:id="rId1"/>
    <p:sldLayoutId id="2147483690" r:id="rId2"/>
    <p:sldLayoutId id="2147483663" r:id="rId3"/>
    <p:sldLayoutId id="2147483720" r:id="rId4"/>
    <p:sldLayoutId id="2147483783" r:id="rId5"/>
    <p:sldLayoutId id="2147483787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CiscoSansTT" panose="020B0503020201020303" pitchFamily="34" charset="0"/>
          <a:ea typeface="CiscoSansTT" panose="020B0503020201020303" pitchFamily="34" charset="0"/>
          <a:cs typeface="CiscoSansTT" panose="020B0503020201020303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pnivaggi@cisco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tiff"/><Relationship Id="rId18" Type="http://schemas.openxmlformats.org/officeDocument/2006/relationships/image" Target="../media/image24.tiff"/><Relationship Id="rId26" Type="http://schemas.openxmlformats.org/officeDocument/2006/relationships/image" Target="../media/image32.jpeg"/><Relationship Id="rId3" Type="http://schemas.openxmlformats.org/officeDocument/2006/relationships/image" Target="../media/image9.emf"/><Relationship Id="rId21" Type="http://schemas.openxmlformats.org/officeDocument/2006/relationships/image" Target="../media/image27.tiff"/><Relationship Id="rId7" Type="http://schemas.openxmlformats.org/officeDocument/2006/relationships/image" Target="../media/image13.png"/><Relationship Id="rId12" Type="http://schemas.openxmlformats.org/officeDocument/2006/relationships/image" Target="../media/image18.tiff"/><Relationship Id="rId17" Type="http://schemas.openxmlformats.org/officeDocument/2006/relationships/image" Target="../media/image23.tiff"/><Relationship Id="rId25" Type="http://schemas.openxmlformats.org/officeDocument/2006/relationships/image" Target="../media/image31.png"/><Relationship Id="rId2" Type="http://schemas.openxmlformats.org/officeDocument/2006/relationships/image" Target="../media/image8.emf"/><Relationship Id="rId16" Type="http://schemas.openxmlformats.org/officeDocument/2006/relationships/image" Target="../media/image22.tiff"/><Relationship Id="rId20" Type="http://schemas.openxmlformats.org/officeDocument/2006/relationships/image" Target="../media/image26.tif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png"/><Relationship Id="rId11" Type="http://schemas.openxmlformats.org/officeDocument/2006/relationships/image" Target="../media/image17.tiff"/><Relationship Id="rId24" Type="http://schemas.openxmlformats.org/officeDocument/2006/relationships/image" Target="../media/image30.tiff"/><Relationship Id="rId5" Type="http://schemas.openxmlformats.org/officeDocument/2006/relationships/image" Target="../media/image11.png"/><Relationship Id="rId15" Type="http://schemas.openxmlformats.org/officeDocument/2006/relationships/image" Target="../media/image21.tiff"/><Relationship Id="rId23" Type="http://schemas.openxmlformats.org/officeDocument/2006/relationships/image" Target="../media/image29.tiff"/><Relationship Id="rId10" Type="http://schemas.openxmlformats.org/officeDocument/2006/relationships/image" Target="../media/image16.tiff"/><Relationship Id="rId19" Type="http://schemas.openxmlformats.org/officeDocument/2006/relationships/image" Target="../media/image25.tiff"/><Relationship Id="rId4" Type="http://schemas.openxmlformats.org/officeDocument/2006/relationships/image" Target="../media/image10.png"/><Relationship Id="rId9" Type="http://schemas.openxmlformats.org/officeDocument/2006/relationships/image" Target="../media/image15.tiff"/><Relationship Id="rId14" Type="http://schemas.openxmlformats.org/officeDocument/2006/relationships/image" Target="../media/image20.tiff"/><Relationship Id="rId22" Type="http://schemas.openxmlformats.org/officeDocument/2006/relationships/image" Target="../media/image28.tiff"/><Relationship Id="rId27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emf"/><Relationship Id="rId3" Type="http://schemas.openxmlformats.org/officeDocument/2006/relationships/image" Target="../media/image35.png"/><Relationship Id="rId7" Type="http://schemas.openxmlformats.org/officeDocument/2006/relationships/image" Target="../media/image39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8.emf"/><Relationship Id="rId11" Type="http://schemas.openxmlformats.org/officeDocument/2006/relationships/image" Target="../media/image43.emf"/><Relationship Id="rId5" Type="http://schemas.openxmlformats.org/officeDocument/2006/relationships/image" Target="../media/image37.emf"/><Relationship Id="rId10" Type="http://schemas.openxmlformats.org/officeDocument/2006/relationships/image" Target="../media/image42.emf"/><Relationship Id="rId4" Type="http://schemas.openxmlformats.org/officeDocument/2006/relationships/image" Target="../media/image36.svg"/><Relationship Id="rId9" Type="http://schemas.openxmlformats.org/officeDocument/2006/relationships/image" Target="../media/image4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3.pn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emf"/><Relationship Id="rId13" Type="http://schemas.openxmlformats.org/officeDocument/2006/relationships/image" Target="../media/image60.svg"/><Relationship Id="rId3" Type="http://schemas.openxmlformats.org/officeDocument/2006/relationships/image" Target="../media/image35.png"/><Relationship Id="rId7" Type="http://schemas.openxmlformats.org/officeDocument/2006/relationships/image" Target="../media/image39.emf"/><Relationship Id="rId12" Type="http://schemas.openxmlformats.org/officeDocument/2006/relationships/image" Target="../media/image5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8.emf"/><Relationship Id="rId11" Type="http://schemas.openxmlformats.org/officeDocument/2006/relationships/image" Target="../media/image43.emf"/><Relationship Id="rId5" Type="http://schemas.openxmlformats.org/officeDocument/2006/relationships/image" Target="../media/image37.emf"/><Relationship Id="rId10" Type="http://schemas.openxmlformats.org/officeDocument/2006/relationships/image" Target="../media/image42.emf"/><Relationship Id="rId4" Type="http://schemas.openxmlformats.org/officeDocument/2006/relationships/image" Target="../media/image36.svg"/><Relationship Id="rId9" Type="http://schemas.openxmlformats.org/officeDocument/2006/relationships/image" Target="../media/image4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12" Type="http://schemas.openxmlformats.org/officeDocument/2006/relationships/image" Target="../media/image7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4.png"/><Relationship Id="rId11" Type="http://schemas.openxmlformats.org/officeDocument/2006/relationships/image" Target="../media/image69.png"/><Relationship Id="rId5" Type="http://schemas.openxmlformats.org/officeDocument/2006/relationships/image" Target="../media/image63.png"/><Relationship Id="rId10" Type="http://schemas.openxmlformats.org/officeDocument/2006/relationships/image" Target="../media/image68.png"/><Relationship Id="rId4" Type="http://schemas.openxmlformats.org/officeDocument/2006/relationships/image" Target="../media/image62.png"/><Relationship Id="rId9" Type="http://schemas.openxmlformats.org/officeDocument/2006/relationships/image" Target="../media/image6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p60"/>
          <p:cNvSpPr txBox="1"/>
          <p:nvPr/>
        </p:nvSpPr>
        <p:spPr>
          <a:xfrm>
            <a:off x="488171" y="3502314"/>
            <a:ext cx="4650900" cy="738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r>
              <a:rPr lang="en-US" sz="1200" dirty="0">
                <a:solidFill>
                  <a:schemeClr val="dk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Patrice Nivaggioli, </a:t>
            </a:r>
            <a:r>
              <a:rPr lang="en-US" sz="1200" dirty="0">
                <a:solidFill>
                  <a:schemeClr val="dk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hlinkClick r:id="rId3"/>
              </a:rPr>
              <a:t>pnivaggi@cisco.com</a:t>
            </a:r>
            <a:endParaRPr lang="en-US" sz="1200" dirty="0">
              <a:solidFill>
                <a:schemeClr val="dk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  <a:p>
            <a:pPr lvl="0"/>
            <a:r>
              <a:rPr lang="en-US" sz="1200" dirty="0">
                <a:solidFill>
                  <a:schemeClr val="dk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Cisco Emerging Technologies and Incubation</a:t>
            </a:r>
          </a:p>
          <a:p>
            <a:pPr lvl="0"/>
            <a:r>
              <a:rPr lang="en-US" sz="1200" dirty="0">
                <a:solidFill>
                  <a:schemeClr val="dk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April 2023</a:t>
            </a: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923DCA34-CAA4-1F43-977F-D64C816718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770" y="2205900"/>
            <a:ext cx="6076317" cy="731700"/>
          </a:xfrm>
        </p:spPr>
        <p:txBody>
          <a:bodyPr/>
          <a:lstStyle/>
          <a:p>
            <a:r>
              <a:rPr lang="en-US" sz="3600" b="1" dirty="0">
                <a:latin typeface="CiscoSansTT Light" panose="020B0503020201020303" pitchFamily="34" charset="0"/>
                <a:cs typeface="CiscoSansTT Light" panose="020B0503020201020303" pitchFamily="34" charset="0"/>
              </a:rPr>
              <a:t>Cloud Native Application Security</a:t>
            </a:r>
            <a:endParaRPr lang="en-US" sz="3600" dirty="0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BB871291-37C4-0615-8743-BCA6B7DAE0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6553" y="86905"/>
            <a:ext cx="2669161" cy="65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3317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A8B42-720D-E004-9391-78C4EDA9CD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FR" dirty="0"/>
              <a:t>Cloud Security Posture Management 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896438AF-40F2-C946-9580-57382DBD52D0}"/>
              </a:ext>
            </a:extLst>
          </p:cNvPr>
          <p:cNvSpPr>
            <a:spLocks noGrp="1"/>
          </p:cNvSpPr>
          <p:nvPr>
            <p:ph type="subTitle" idx="2"/>
          </p:nvPr>
        </p:nvSpPr>
        <p:spPr/>
        <p:txBody>
          <a:bodyPr/>
          <a:lstStyle/>
          <a:p>
            <a:r>
              <a:rPr lang="en-FR" dirty="0"/>
              <a:t>Attack Path vs Attack Vecto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1A0A546-6D51-DDAE-5A97-B82517B47B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6723" y="1242498"/>
            <a:ext cx="3556000" cy="316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8849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47F958-B54F-5396-5319-5D0A4C9339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FR" dirty="0"/>
              <a:t>Conclus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434A85-EEC3-55E6-3827-8BC463449E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398" y="1282098"/>
            <a:ext cx="6755861" cy="3083100"/>
          </a:xfrm>
        </p:spPr>
        <p:txBody>
          <a:bodyPr/>
          <a:lstStyle/>
          <a:p>
            <a:r>
              <a:rPr lang="en-GB" dirty="0"/>
              <a:t>Software has eaten the word…</a:t>
            </a:r>
            <a:br>
              <a:rPr lang="en-GB" dirty="0"/>
            </a:br>
            <a:r>
              <a:rPr lang="en-GB" dirty="0"/>
              <a:t>	and Opensource is eating Software</a:t>
            </a:r>
          </a:p>
          <a:p>
            <a:r>
              <a:rPr lang="en-GB" dirty="0"/>
              <a:t>You can’t protect what you can’t see</a:t>
            </a:r>
          </a:p>
          <a:p>
            <a:r>
              <a:rPr lang="en-GB" dirty="0"/>
              <a:t>You can’t protect what you don’t understand</a:t>
            </a:r>
          </a:p>
          <a:p>
            <a:r>
              <a:rPr lang="en-GB" dirty="0"/>
              <a:t>Next &gt; https://</a:t>
            </a:r>
            <a:r>
              <a:rPr lang="en-GB" dirty="0" err="1"/>
              <a:t>openssf.org</a:t>
            </a:r>
            <a:r>
              <a:rPr lang="en-GB" dirty="0"/>
              <a:t>/</a:t>
            </a:r>
            <a:br>
              <a:rPr lang="en-GB" dirty="0"/>
            </a:br>
            <a:endParaRPr lang="en-FR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101B9C5-8B94-F2C3-C7C1-AF61BC405D06}"/>
              </a:ext>
            </a:extLst>
          </p:cNvPr>
          <p:cNvSpPr>
            <a:spLocks noGrp="1"/>
          </p:cNvSpPr>
          <p:nvPr>
            <p:ph type="subTitle" idx="2"/>
          </p:nvPr>
        </p:nvSpPr>
        <p:spPr/>
        <p:txBody>
          <a:bodyPr/>
          <a:lstStyle/>
          <a:p>
            <a:endParaRPr lang="en-FR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A1FA4CF-E88D-175B-D13C-85761E7B3C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8837" y="2329789"/>
            <a:ext cx="1367798" cy="2310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20566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DB4103-916D-B3D1-2FF5-0F0F0BB6DE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FR" dirty="0"/>
              <a:t>Thank You !</a:t>
            </a:r>
          </a:p>
        </p:txBody>
      </p:sp>
    </p:spTree>
    <p:extLst>
      <p:ext uri="{BB962C8B-B14F-4D97-AF65-F5344CB8AC3E}">
        <p14:creationId xmlns:p14="http://schemas.microsoft.com/office/powerpoint/2010/main" val="1295479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EE8581-9910-F933-4ED7-FA8BECFD6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FR" dirty="0"/>
              <a:t>Application Development is Fundamentally Changing</a:t>
            </a:r>
          </a:p>
        </p:txBody>
      </p:sp>
      <p:sp>
        <p:nvSpPr>
          <p:cNvPr id="122" name="Subtitle 121">
            <a:extLst>
              <a:ext uri="{FF2B5EF4-FFF2-40B4-BE49-F238E27FC236}">
                <a16:creationId xmlns:a16="http://schemas.microsoft.com/office/drawing/2014/main" id="{E7733D6E-3A0C-086A-3948-BD75B0C515BB}"/>
              </a:ext>
            </a:extLst>
          </p:cNvPr>
          <p:cNvSpPr>
            <a:spLocks noGrp="1"/>
          </p:cNvSpPr>
          <p:nvPr>
            <p:ph type="subTitle" idx="3"/>
          </p:nvPr>
        </p:nvSpPr>
        <p:spPr/>
        <p:txBody>
          <a:bodyPr/>
          <a:lstStyle/>
          <a:p>
            <a:endParaRPr lang="en-FR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E6F2ABF-0836-6CAF-9098-D7346BD144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414" y="2042403"/>
            <a:ext cx="3162721" cy="1547715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86223E84-321C-37BA-9EA7-71C20D96DA32}"/>
              </a:ext>
            </a:extLst>
          </p:cNvPr>
          <p:cNvGrpSpPr/>
          <p:nvPr/>
        </p:nvGrpSpPr>
        <p:grpSpPr>
          <a:xfrm>
            <a:off x="4808535" y="1202688"/>
            <a:ext cx="3974719" cy="3227144"/>
            <a:chOff x="547794" y="1306319"/>
            <a:chExt cx="5299625" cy="4302858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8C52155-D656-18EC-2D94-19E56F9B2BD5}"/>
                </a:ext>
              </a:extLst>
            </p:cNvPr>
            <p:cNvGrpSpPr/>
            <p:nvPr/>
          </p:nvGrpSpPr>
          <p:grpSpPr>
            <a:xfrm>
              <a:off x="547794" y="1382539"/>
              <a:ext cx="5299625" cy="4226638"/>
              <a:chOff x="904776" y="1100631"/>
              <a:chExt cx="5871755" cy="4682931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5F2F24BA-6A98-0F59-2215-632A2DF16EC3}"/>
                  </a:ext>
                </a:extLst>
              </p:cNvPr>
              <p:cNvGrpSpPr/>
              <p:nvPr/>
            </p:nvGrpSpPr>
            <p:grpSpPr>
              <a:xfrm>
                <a:off x="1684471" y="1254835"/>
                <a:ext cx="3989070" cy="3989070"/>
                <a:chOff x="3018959" y="1387049"/>
                <a:chExt cx="2992582" cy="2992582"/>
              </a:xfrm>
            </p:grpSpPr>
            <p:pic>
              <p:nvPicPr>
                <p:cNvPr id="116" name="Picture 115">
                  <a:extLst>
                    <a:ext uri="{FF2B5EF4-FFF2-40B4-BE49-F238E27FC236}">
                      <a16:creationId xmlns:a16="http://schemas.microsoft.com/office/drawing/2014/main" id="{CF4C0721-9689-E5E4-2C02-3FD6039762F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duotone>
                    <a:prstClr val="black"/>
                    <a:srgbClr val="74BF4B">
                      <a:tint val="45000"/>
                      <a:satMod val="400000"/>
                    </a:srgbClr>
                  </a:duotone>
                  <a:lum bright="100000"/>
                  <a:alphaModFix amt="50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027715" y="1394545"/>
                  <a:ext cx="2975070" cy="2977591"/>
                </a:xfrm>
                <a:prstGeom prst="rect">
                  <a:avLst/>
                </a:prstGeom>
              </p:spPr>
            </p:pic>
            <p:sp>
              <p:nvSpPr>
                <p:cNvPr id="117" name="Oval 116">
                  <a:extLst>
                    <a:ext uri="{FF2B5EF4-FFF2-40B4-BE49-F238E27FC236}">
                      <a16:creationId xmlns:a16="http://schemas.microsoft.com/office/drawing/2014/main" id="{C6019F0F-B91D-B623-1825-63670C808908}"/>
                    </a:ext>
                  </a:extLst>
                </p:cNvPr>
                <p:cNvSpPr/>
                <p:nvPr/>
              </p:nvSpPr>
              <p:spPr>
                <a:xfrm>
                  <a:off x="3018959" y="1387049"/>
                  <a:ext cx="2992582" cy="2992582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rgbClr val="FFFFFF">
                      <a:alpha val="50000"/>
                    </a:srgb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69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Next" panose="020B0503020202020204" pitchFamily="34" charset="0"/>
                    <a:ea typeface="+mn-ea"/>
                    <a:cs typeface="CiscoSansTT" panose="020B0503020201020303" pitchFamily="34" charset="0"/>
                    <a:sym typeface="Arial"/>
                  </a:endParaRPr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A29C50B6-6ADA-F6C7-71E8-058087686EAC}"/>
                  </a:ext>
                </a:extLst>
              </p:cNvPr>
              <p:cNvGrpSpPr/>
              <p:nvPr/>
            </p:nvGrpSpPr>
            <p:grpSpPr>
              <a:xfrm>
                <a:off x="2548183" y="1100631"/>
                <a:ext cx="3443034" cy="3534200"/>
                <a:chOff x="3542925" y="1271365"/>
                <a:chExt cx="2582948" cy="2651340"/>
              </a:xfrm>
            </p:grpSpPr>
            <p:grpSp>
              <p:nvGrpSpPr>
                <p:cNvPr id="102" name="Group 101">
                  <a:extLst>
                    <a:ext uri="{FF2B5EF4-FFF2-40B4-BE49-F238E27FC236}">
                      <a16:creationId xmlns:a16="http://schemas.microsoft.com/office/drawing/2014/main" id="{DB435C31-2B21-7DF7-CEC4-9734A368BD0A}"/>
                    </a:ext>
                  </a:extLst>
                </p:cNvPr>
                <p:cNvGrpSpPr/>
                <p:nvPr/>
              </p:nvGrpSpPr>
              <p:grpSpPr>
                <a:xfrm>
                  <a:off x="3874496" y="1271365"/>
                  <a:ext cx="627093" cy="326410"/>
                  <a:chOff x="3983678" y="1380547"/>
                  <a:chExt cx="627093" cy="326410"/>
                </a:xfrm>
              </p:grpSpPr>
              <p:sp>
                <p:nvSpPr>
                  <p:cNvPr id="114" name="Freeform 214">
                    <a:extLst>
                      <a:ext uri="{FF2B5EF4-FFF2-40B4-BE49-F238E27FC236}">
                        <a16:creationId xmlns:a16="http://schemas.microsoft.com/office/drawing/2014/main" id="{E08A0D02-BE49-6459-A889-B512BDD3D76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83678" y="1380547"/>
                    <a:ext cx="627093" cy="310636"/>
                  </a:xfrm>
                  <a:custGeom>
                    <a:avLst/>
                    <a:gdLst>
                      <a:gd name="connsiteX0" fmla="*/ 501088 w 826646"/>
                      <a:gd name="connsiteY0" fmla="*/ 0 h 409487"/>
                      <a:gd name="connsiteX1" fmla="*/ 602589 w 826646"/>
                      <a:gd name="connsiteY1" fmla="*/ 0 h 409487"/>
                      <a:gd name="connsiteX2" fmla="*/ 693214 w 826646"/>
                      <a:gd name="connsiteY2" fmla="*/ 87137 h 409487"/>
                      <a:gd name="connsiteX3" fmla="*/ 687399 w 826646"/>
                      <a:gd name="connsiteY3" fmla="*/ 116636 h 409487"/>
                      <a:gd name="connsiteX4" fmla="*/ 714831 w 826646"/>
                      <a:gd name="connsiteY4" fmla="*/ 122059 h 409487"/>
                      <a:gd name="connsiteX5" fmla="*/ 769899 w 826646"/>
                      <a:gd name="connsiteY5" fmla="*/ 205792 h 409487"/>
                      <a:gd name="connsiteX6" fmla="*/ 763447 w 826646"/>
                      <a:gd name="connsiteY6" fmla="*/ 236587 h 409487"/>
                      <a:gd name="connsiteX7" fmla="*/ 773111 w 826646"/>
                      <a:gd name="connsiteY7" fmla="*/ 238618 h 409487"/>
                      <a:gd name="connsiteX8" fmla="*/ 826646 w 826646"/>
                      <a:gd name="connsiteY8" fmla="*/ 322350 h 409487"/>
                      <a:gd name="connsiteX9" fmla="*/ 739631 w 826646"/>
                      <a:gd name="connsiteY9" fmla="*/ 409487 h 409487"/>
                      <a:gd name="connsiteX10" fmla="*/ 87015 w 826646"/>
                      <a:gd name="connsiteY10" fmla="*/ 409487 h 409487"/>
                      <a:gd name="connsiteX11" fmla="*/ 0 w 826646"/>
                      <a:gd name="connsiteY11" fmla="*/ 322350 h 409487"/>
                      <a:gd name="connsiteX12" fmla="*/ 87015 w 826646"/>
                      <a:gd name="connsiteY12" fmla="*/ 231583 h 409487"/>
                      <a:gd name="connsiteX13" fmla="*/ 187867 w 826646"/>
                      <a:gd name="connsiteY13" fmla="*/ 231583 h 409487"/>
                      <a:gd name="connsiteX14" fmla="*/ 182506 w 826646"/>
                      <a:gd name="connsiteY14" fmla="*/ 205792 h 409487"/>
                      <a:gd name="connsiteX15" fmla="*/ 269527 w 826646"/>
                      <a:gd name="connsiteY15" fmla="*/ 115025 h 409487"/>
                      <a:gd name="connsiteX16" fmla="*/ 404769 w 826646"/>
                      <a:gd name="connsiteY16" fmla="*/ 115025 h 409487"/>
                      <a:gd name="connsiteX17" fmla="*/ 419542 w 826646"/>
                      <a:gd name="connsiteY17" fmla="*/ 115025 h 409487"/>
                      <a:gd name="connsiteX18" fmla="*/ 414088 w 826646"/>
                      <a:gd name="connsiteY18" fmla="*/ 87137 h 409487"/>
                      <a:gd name="connsiteX19" fmla="*/ 501088 w 826646"/>
                      <a:gd name="connsiteY19" fmla="*/ 0 h 409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6646" h="409487">
                        <a:moveTo>
                          <a:pt x="501088" y="0"/>
                        </a:moveTo>
                        <a:cubicBezTo>
                          <a:pt x="602589" y="0"/>
                          <a:pt x="602589" y="0"/>
                          <a:pt x="602589" y="0"/>
                        </a:cubicBezTo>
                        <a:cubicBezTo>
                          <a:pt x="653339" y="0"/>
                          <a:pt x="693214" y="39938"/>
                          <a:pt x="693214" y="87137"/>
                        </a:cubicBezTo>
                        <a:lnTo>
                          <a:pt x="687399" y="116636"/>
                        </a:lnTo>
                        <a:lnTo>
                          <a:pt x="714831" y="122059"/>
                        </a:lnTo>
                        <a:cubicBezTo>
                          <a:pt x="747464" y="135675"/>
                          <a:pt x="769899" y="167670"/>
                          <a:pt x="769899" y="205792"/>
                        </a:cubicBezTo>
                        <a:lnTo>
                          <a:pt x="763447" y="236587"/>
                        </a:lnTo>
                        <a:lnTo>
                          <a:pt x="773111" y="238618"/>
                        </a:lnTo>
                        <a:cubicBezTo>
                          <a:pt x="804212" y="252233"/>
                          <a:pt x="826646" y="284228"/>
                          <a:pt x="826646" y="322350"/>
                        </a:cubicBezTo>
                        <a:cubicBezTo>
                          <a:pt x="826646" y="369550"/>
                          <a:pt x="786764" y="409487"/>
                          <a:pt x="739631" y="409487"/>
                        </a:cubicBezTo>
                        <a:cubicBezTo>
                          <a:pt x="87015" y="409487"/>
                          <a:pt x="87015" y="409487"/>
                          <a:pt x="87015" y="409487"/>
                        </a:cubicBezTo>
                        <a:cubicBezTo>
                          <a:pt x="39882" y="409487"/>
                          <a:pt x="0" y="369550"/>
                          <a:pt x="0" y="322350"/>
                        </a:cubicBezTo>
                        <a:cubicBezTo>
                          <a:pt x="0" y="271521"/>
                          <a:pt x="39882" y="231583"/>
                          <a:pt x="87015" y="231583"/>
                        </a:cubicBezTo>
                        <a:lnTo>
                          <a:pt x="187867" y="231583"/>
                        </a:lnTo>
                        <a:lnTo>
                          <a:pt x="182506" y="205792"/>
                        </a:lnTo>
                        <a:cubicBezTo>
                          <a:pt x="182506" y="154963"/>
                          <a:pt x="222391" y="115025"/>
                          <a:pt x="269527" y="115025"/>
                        </a:cubicBezTo>
                        <a:cubicBezTo>
                          <a:pt x="320743" y="115025"/>
                          <a:pt x="365557" y="115025"/>
                          <a:pt x="404769" y="115025"/>
                        </a:cubicBezTo>
                        <a:lnTo>
                          <a:pt x="419542" y="115025"/>
                        </a:lnTo>
                        <a:lnTo>
                          <a:pt x="414088" y="87137"/>
                        </a:lnTo>
                        <a:cubicBezTo>
                          <a:pt x="414088" y="39938"/>
                          <a:pt x="453963" y="0"/>
                          <a:pt x="501088" y="0"/>
                        </a:cubicBezTo>
                        <a:close/>
                      </a:path>
                    </a:pathLst>
                  </a:custGeom>
                  <a:solidFill>
                    <a:srgbClr val="00BCEB"/>
                  </a:solidFill>
                  <a:ln>
                    <a:noFill/>
                  </a:ln>
                </p:spPr>
                <p:txBody>
                  <a:bodyPr vert="horz" wrap="square" lIns="91392" tIns="45696" rIns="91392" bIns="45696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698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en-US" sz="134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" panose="020B0503020202020204" pitchFamily="34" charset="0"/>
                      <a:ea typeface="+mn-ea"/>
                      <a:cs typeface="CiscoSansTT" panose="020B0503020201020303" pitchFamily="34" charset="0"/>
                      <a:sym typeface="Arial"/>
                    </a:endParaRPr>
                  </a:p>
                </p:txBody>
              </p:sp>
              <p:sp>
                <p:nvSpPr>
                  <p:cNvPr id="115" name="TextBox 114">
                    <a:extLst>
                      <a:ext uri="{FF2B5EF4-FFF2-40B4-BE49-F238E27FC236}">
                        <a16:creationId xmlns:a16="http://schemas.microsoft.com/office/drawing/2014/main" id="{14373017-19E3-3BA7-E19D-FCB4337E689F}"/>
                      </a:ext>
                    </a:extLst>
                  </p:cNvPr>
                  <p:cNvSpPr txBox="1"/>
                  <p:nvPr/>
                </p:nvSpPr>
                <p:spPr>
                  <a:xfrm>
                    <a:off x="4159396" y="1485247"/>
                    <a:ext cx="412509" cy="22171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marL="0" marR="0" lvl="0" indent="0" algn="l" defTabSz="45698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r>
                      <a:rPr kumimoji="0" lang="en-US" sz="7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venir Next" panose="020B0503020202020204" pitchFamily="34" charset="0"/>
                        <a:ea typeface="+mn-ea"/>
                        <a:cs typeface="CiscoSansTT" panose="020B0503020201020303" pitchFamily="34" charset="0"/>
                        <a:sym typeface="Arial"/>
                      </a:rPr>
                      <a:t>Saas</a:t>
                    </a:r>
                    <a:endParaRPr kumimoji="0" 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" panose="020B0503020202020204" pitchFamily="34" charset="0"/>
                      <a:ea typeface="+mn-ea"/>
                      <a:cs typeface="CiscoSansTT" panose="020B0503020201020303" pitchFamily="34" charset="0"/>
                      <a:sym typeface="Arial"/>
                    </a:endParaRPr>
                  </a:p>
                </p:txBody>
              </p:sp>
            </p:grpSp>
            <p:grpSp>
              <p:nvGrpSpPr>
                <p:cNvPr id="103" name="Group 102">
                  <a:extLst>
                    <a:ext uri="{FF2B5EF4-FFF2-40B4-BE49-F238E27FC236}">
                      <a16:creationId xmlns:a16="http://schemas.microsoft.com/office/drawing/2014/main" id="{F6DCF97C-866E-9331-C413-C05780C2820C}"/>
                    </a:ext>
                  </a:extLst>
                </p:cNvPr>
                <p:cNvGrpSpPr/>
                <p:nvPr/>
              </p:nvGrpSpPr>
              <p:grpSpPr>
                <a:xfrm>
                  <a:off x="3542925" y="3291785"/>
                  <a:ext cx="627093" cy="326410"/>
                  <a:chOff x="3983678" y="1380547"/>
                  <a:chExt cx="627093" cy="326410"/>
                </a:xfrm>
              </p:grpSpPr>
              <p:sp>
                <p:nvSpPr>
                  <p:cNvPr id="112" name="Freeform 212">
                    <a:extLst>
                      <a:ext uri="{FF2B5EF4-FFF2-40B4-BE49-F238E27FC236}">
                        <a16:creationId xmlns:a16="http://schemas.microsoft.com/office/drawing/2014/main" id="{2F9FAEA9-13BB-C0D1-C3B8-14E1809F47B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83678" y="1380547"/>
                    <a:ext cx="627093" cy="310636"/>
                  </a:xfrm>
                  <a:custGeom>
                    <a:avLst/>
                    <a:gdLst>
                      <a:gd name="connsiteX0" fmla="*/ 501088 w 826646"/>
                      <a:gd name="connsiteY0" fmla="*/ 0 h 409487"/>
                      <a:gd name="connsiteX1" fmla="*/ 602589 w 826646"/>
                      <a:gd name="connsiteY1" fmla="*/ 0 h 409487"/>
                      <a:gd name="connsiteX2" fmla="*/ 693214 w 826646"/>
                      <a:gd name="connsiteY2" fmla="*/ 87137 h 409487"/>
                      <a:gd name="connsiteX3" fmla="*/ 687399 w 826646"/>
                      <a:gd name="connsiteY3" fmla="*/ 116636 h 409487"/>
                      <a:gd name="connsiteX4" fmla="*/ 714831 w 826646"/>
                      <a:gd name="connsiteY4" fmla="*/ 122059 h 409487"/>
                      <a:gd name="connsiteX5" fmla="*/ 769899 w 826646"/>
                      <a:gd name="connsiteY5" fmla="*/ 205792 h 409487"/>
                      <a:gd name="connsiteX6" fmla="*/ 763447 w 826646"/>
                      <a:gd name="connsiteY6" fmla="*/ 236587 h 409487"/>
                      <a:gd name="connsiteX7" fmla="*/ 773111 w 826646"/>
                      <a:gd name="connsiteY7" fmla="*/ 238618 h 409487"/>
                      <a:gd name="connsiteX8" fmla="*/ 826646 w 826646"/>
                      <a:gd name="connsiteY8" fmla="*/ 322350 h 409487"/>
                      <a:gd name="connsiteX9" fmla="*/ 739631 w 826646"/>
                      <a:gd name="connsiteY9" fmla="*/ 409487 h 409487"/>
                      <a:gd name="connsiteX10" fmla="*/ 87015 w 826646"/>
                      <a:gd name="connsiteY10" fmla="*/ 409487 h 409487"/>
                      <a:gd name="connsiteX11" fmla="*/ 0 w 826646"/>
                      <a:gd name="connsiteY11" fmla="*/ 322350 h 409487"/>
                      <a:gd name="connsiteX12" fmla="*/ 87015 w 826646"/>
                      <a:gd name="connsiteY12" fmla="*/ 231583 h 409487"/>
                      <a:gd name="connsiteX13" fmla="*/ 187867 w 826646"/>
                      <a:gd name="connsiteY13" fmla="*/ 231583 h 409487"/>
                      <a:gd name="connsiteX14" fmla="*/ 182506 w 826646"/>
                      <a:gd name="connsiteY14" fmla="*/ 205792 h 409487"/>
                      <a:gd name="connsiteX15" fmla="*/ 269527 w 826646"/>
                      <a:gd name="connsiteY15" fmla="*/ 115025 h 409487"/>
                      <a:gd name="connsiteX16" fmla="*/ 404769 w 826646"/>
                      <a:gd name="connsiteY16" fmla="*/ 115025 h 409487"/>
                      <a:gd name="connsiteX17" fmla="*/ 419542 w 826646"/>
                      <a:gd name="connsiteY17" fmla="*/ 115025 h 409487"/>
                      <a:gd name="connsiteX18" fmla="*/ 414088 w 826646"/>
                      <a:gd name="connsiteY18" fmla="*/ 87137 h 409487"/>
                      <a:gd name="connsiteX19" fmla="*/ 501088 w 826646"/>
                      <a:gd name="connsiteY19" fmla="*/ 0 h 409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6646" h="409487">
                        <a:moveTo>
                          <a:pt x="501088" y="0"/>
                        </a:moveTo>
                        <a:cubicBezTo>
                          <a:pt x="602589" y="0"/>
                          <a:pt x="602589" y="0"/>
                          <a:pt x="602589" y="0"/>
                        </a:cubicBezTo>
                        <a:cubicBezTo>
                          <a:pt x="653339" y="0"/>
                          <a:pt x="693214" y="39938"/>
                          <a:pt x="693214" y="87137"/>
                        </a:cubicBezTo>
                        <a:lnTo>
                          <a:pt x="687399" y="116636"/>
                        </a:lnTo>
                        <a:lnTo>
                          <a:pt x="714831" y="122059"/>
                        </a:lnTo>
                        <a:cubicBezTo>
                          <a:pt x="747464" y="135675"/>
                          <a:pt x="769899" y="167670"/>
                          <a:pt x="769899" y="205792"/>
                        </a:cubicBezTo>
                        <a:lnTo>
                          <a:pt x="763447" y="236587"/>
                        </a:lnTo>
                        <a:lnTo>
                          <a:pt x="773111" y="238618"/>
                        </a:lnTo>
                        <a:cubicBezTo>
                          <a:pt x="804212" y="252233"/>
                          <a:pt x="826646" y="284228"/>
                          <a:pt x="826646" y="322350"/>
                        </a:cubicBezTo>
                        <a:cubicBezTo>
                          <a:pt x="826646" y="369550"/>
                          <a:pt x="786764" y="409487"/>
                          <a:pt x="739631" y="409487"/>
                        </a:cubicBezTo>
                        <a:cubicBezTo>
                          <a:pt x="87015" y="409487"/>
                          <a:pt x="87015" y="409487"/>
                          <a:pt x="87015" y="409487"/>
                        </a:cubicBezTo>
                        <a:cubicBezTo>
                          <a:pt x="39882" y="409487"/>
                          <a:pt x="0" y="369550"/>
                          <a:pt x="0" y="322350"/>
                        </a:cubicBezTo>
                        <a:cubicBezTo>
                          <a:pt x="0" y="271521"/>
                          <a:pt x="39882" y="231583"/>
                          <a:pt x="87015" y="231583"/>
                        </a:cubicBezTo>
                        <a:lnTo>
                          <a:pt x="187867" y="231583"/>
                        </a:lnTo>
                        <a:lnTo>
                          <a:pt x="182506" y="205792"/>
                        </a:lnTo>
                        <a:cubicBezTo>
                          <a:pt x="182506" y="154963"/>
                          <a:pt x="222391" y="115025"/>
                          <a:pt x="269527" y="115025"/>
                        </a:cubicBezTo>
                        <a:cubicBezTo>
                          <a:pt x="320743" y="115025"/>
                          <a:pt x="365557" y="115025"/>
                          <a:pt x="404769" y="115025"/>
                        </a:cubicBezTo>
                        <a:lnTo>
                          <a:pt x="419542" y="115025"/>
                        </a:lnTo>
                        <a:lnTo>
                          <a:pt x="414088" y="87137"/>
                        </a:lnTo>
                        <a:cubicBezTo>
                          <a:pt x="414088" y="39938"/>
                          <a:pt x="453963" y="0"/>
                          <a:pt x="501088" y="0"/>
                        </a:cubicBezTo>
                        <a:close/>
                      </a:path>
                    </a:pathLst>
                  </a:custGeom>
                  <a:solidFill>
                    <a:srgbClr val="00BCEB"/>
                  </a:solidFill>
                  <a:ln>
                    <a:noFill/>
                  </a:ln>
                </p:spPr>
                <p:txBody>
                  <a:bodyPr vert="horz" wrap="square" lIns="91392" tIns="45696" rIns="91392" bIns="45696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698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en-US" sz="134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" panose="020B0503020202020204" pitchFamily="34" charset="0"/>
                      <a:ea typeface="+mn-ea"/>
                      <a:cs typeface="CiscoSansTT" panose="020B0503020201020303" pitchFamily="34" charset="0"/>
                      <a:sym typeface="Arial"/>
                    </a:endParaRPr>
                  </a:p>
                </p:txBody>
              </p:sp>
              <p:sp>
                <p:nvSpPr>
                  <p:cNvPr id="113" name="TextBox 112">
                    <a:extLst>
                      <a:ext uri="{FF2B5EF4-FFF2-40B4-BE49-F238E27FC236}">
                        <a16:creationId xmlns:a16="http://schemas.microsoft.com/office/drawing/2014/main" id="{17790941-DA32-8AA3-74E5-62564E091D67}"/>
                      </a:ext>
                    </a:extLst>
                  </p:cNvPr>
                  <p:cNvSpPr txBox="1"/>
                  <p:nvPr/>
                </p:nvSpPr>
                <p:spPr>
                  <a:xfrm>
                    <a:off x="4159396" y="1485247"/>
                    <a:ext cx="412509" cy="22171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marL="0" marR="0" lvl="0" indent="0" algn="l" defTabSz="45698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r>
                      <a:rPr kumimoji="0" lang="en-US" sz="7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venir Next" panose="020B0503020202020204" pitchFamily="34" charset="0"/>
                        <a:ea typeface="+mn-ea"/>
                        <a:cs typeface="CiscoSansTT" panose="020B0503020201020303" pitchFamily="34" charset="0"/>
                        <a:sym typeface="Arial"/>
                      </a:rPr>
                      <a:t>Saas</a:t>
                    </a:r>
                    <a:endParaRPr kumimoji="0" 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" panose="020B0503020202020204" pitchFamily="34" charset="0"/>
                      <a:ea typeface="+mn-ea"/>
                      <a:cs typeface="CiscoSansTT" panose="020B0503020201020303" pitchFamily="34" charset="0"/>
                      <a:sym typeface="Arial"/>
                    </a:endParaRPr>
                  </a:p>
                </p:txBody>
              </p:sp>
            </p:grpSp>
            <p:grpSp>
              <p:nvGrpSpPr>
                <p:cNvPr id="104" name="Group 103">
                  <a:extLst>
                    <a:ext uri="{FF2B5EF4-FFF2-40B4-BE49-F238E27FC236}">
                      <a16:creationId xmlns:a16="http://schemas.microsoft.com/office/drawing/2014/main" id="{C80F36D3-8BBA-9778-CEC8-09C8B2AB6503}"/>
                    </a:ext>
                  </a:extLst>
                </p:cNvPr>
                <p:cNvGrpSpPr/>
                <p:nvPr/>
              </p:nvGrpSpPr>
              <p:grpSpPr>
                <a:xfrm flipH="1">
                  <a:off x="5415629" y="3596295"/>
                  <a:ext cx="710244" cy="326410"/>
                  <a:chOff x="3983678" y="1380547"/>
                  <a:chExt cx="710244" cy="326410"/>
                </a:xfrm>
              </p:grpSpPr>
              <p:grpSp>
                <p:nvGrpSpPr>
                  <p:cNvPr id="108" name="Group 107">
                    <a:extLst>
                      <a:ext uri="{FF2B5EF4-FFF2-40B4-BE49-F238E27FC236}">
                        <a16:creationId xmlns:a16="http://schemas.microsoft.com/office/drawing/2014/main" id="{5A7DFBEE-C328-86E0-6937-6976DFE5F9BB}"/>
                      </a:ext>
                    </a:extLst>
                  </p:cNvPr>
                  <p:cNvGrpSpPr/>
                  <p:nvPr/>
                </p:nvGrpSpPr>
                <p:grpSpPr>
                  <a:xfrm>
                    <a:off x="3983678" y="1380547"/>
                    <a:ext cx="710244" cy="310636"/>
                    <a:chOff x="2809240" y="1123950"/>
                    <a:chExt cx="1041400" cy="455473"/>
                  </a:xfrm>
                </p:grpSpPr>
                <p:sp>
                  <p:nvSpPr>
                    <p:cNvPr id="110" name="Freeform 210">
                      <a:extLst>
                        <a:ext uri="{FF2B5EF4-FFF2-40B4-BE49-F238E27FC236}">
                          <a16:creationId xmlns:a16="http://schemas.microsoft.com/office/drawing/2014/main" id="{EF8746C4-7142-DA9B-C260-1BB8E1E1FBAF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3063240" y="1158898"/>
                      <a:ext cx="787400" cy="390046"/>
                    </a:xfrm>
                    <a:custGeom>
                      <a:avLst/>
                      <a:gdLst>
                        <a:gd name="connsiteX0" fmla="*/ 501088 w 826646"/>
                        <a:gd name="connsiteY0" fmla="*/ 0 h 409487"/>
                        <a:gd name="connsiteX1" fmla="*/ 602589 w 826646"/>
                        <a:gd name="connsiteY1" fmla="*/ 0 h 409487"/>
                        <a:gd name="connsiteX2" fmla="*/ 693214 w 826646"/>
                        <a:gd name="connsiteY2" fmla="*/ 87137 h 409487"/>
                        <a:gd name="connsiteX3" fmla="*/ 687399 w 826646"/>
                        <a:gd name="connsiteY3" fmla="*/ 116636 h 409487"/>
                        <a:gd name="connsiteX4" fmla="*/ 714831 w 826646"/>
                        <a:gd name="connsiteY4" fmla="*/ 122059 h 409487"/>
                        <a:gd name="connsiteX5" fmla="*/ 769899 w 826646"/>
                        <a:gd name="connsiteY5" fmla="*/ 205792 h 409487"/>
                        <a:gd name="connsiteX6" fmla="*/ 763447 w 826646"/>
                        <a:gd name="connsiteY6" fmla="*/ 236587 h 409487"/>
                        <a:gd name="connsiteX7" fmla="*/ 773111 w 826646"/>
                        <a:gd name="connsiteY7" fmla="*/ 238618 h 409487"/>
                        <a:gd name="connsiteX8" fmla="*/ 826646 w 826646"/>
                        <a:gd name="connsiteY8" fmla="*/ 322350 h 409487"/>
                        <a:gd name="connsiteX9" fmla="*/ 739631 w 826646"/>
                        <a:gd name="connsiteY9" fmla="*/ 409487 h 409487"/>
                        <a:gd name="connsiteX10" fmla="*/ 87015 w 826646"/>
                        <a:gd name="connsiteY10" fmla="*/ 409487 h 409487"/>
                        <a:gd name="connsiteX11" fmla="*/ 0 w 826646"/>
                        <a:gd name="connsiteY11" fmla="*/ 322350 h 409487"/>
                        <a:gd name="connsiteX12" fmla="*/ 87015 w 826646"/>
                        <a:gd name="connsiteY12" fmla="*/ 231583 h 409487"/>
                        <a:gd name="connsiteX13" fmla="*/ 187867 w 826646"/>
                        <a:gd name="connsiteY13" fmla="*/ 231583 h 409487"/>
                        <a:gd name="connsiteX14" fmla="*/ 182506 w 826646"/>
                        <a:gd name="connsiteY14" fmla="*/ 205792 h 409487"/>
                        <a:gd name="connsiteX15" fmla="*/ 269527 w 826646"/>
                        <a:gd name="connsiteY15" fmla="*/ 115025 h 409487"/>
                        <a:gd name="connsiteX16" fmla="*/ 404769 w 826646"/>
                        <a:gd name="connsiteY16" fmla="*/ 115025 h 409487"/>
                        <a:gd name="connsiteX17" fmla="*/ 419542 w 826646"/>
                        <a:gd name="connsiteY17" fmla="*/ 115025 h 409487"/>
                        <a:gd name="connsiteX18" fmla="*/ 414088 w 826646"/>
                        <a:gd name="connsiteY18" fmla="*/ 87137 h 409487"/>
                        <a:gd name="connsiteX19" fmla="*/ 501088 w 826646"/>
                        <a:gd name="connsiteY19" fmla="*/ 0 h 40948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826646" h="409487">
                          <a:moveTo>
                            <a:pt x="501088" y="0"/>
                          </a:moveTo>
                          <a:cubicBezTo>
                            <a:pt x="602589" y="0"/>
                            <a:pt x="602589" y="0"/>
                            <a:pt x="602589" y="0"/>
                          </a:cubicBezTo>
                          <a:cubicBezTo>
                            <a:pt x="653339" y="0"/>
                            <a:pt x="693214" y="39938"/>
                            <a:pt x="693214" y="87137"/>
                          </a:cubicBezTo>
                          <a:lnTo>
                            <a:pt x="687399" y="116636"/>
                          </a:lnTo>
                          <a:lnTo>
                            <a:pt x="714831" y="122059"/>
                          </a:lnTo>
                          <a:cubicBezTo>
                            <a:pt x="747464" y="135675"/>
                            <a:pt x="769899" y="167670"/>
                            <a:pt x="769899" y="205792"/>
                          </a:cubicBezTo>
                          <a:lnTo>
                            <a:pt x="763447" y="236587"/>
                          </a:lnTo>
                          <a:lnTo>
                            <a:pt x="773111" y="238618"/>
                          </a:lnTo>
                          <a:cubicBezTo>
                            <a:pt x="804212" y="252233"/>
                            <a:pt x="826646" y="284228"/>
                            <a:pt x="826646" y="322350"/>
                          </a:cubicBezTo>
                          <a:cubicBezTo>
                            <a:pt x="826646" y="369550"/>
                            <a:pt x="786764" y="409487"/>
                            <a:pt x="739631" y="409487"/>
                          </a:cubicBezTo>
                          <a:cubicBezTo>
                            <a:pt x="87015" y="409487"/>
                            <a:pt x="87015" y="409487"/>
                            <a:pt x="87015" y="409487"/>
                          </a:cubicBezTo>
                          <a:cubicBezTo>
                            <a:pt x="39882" y="409487"/>
                            <a:pt x="0" y="369550"/>
                            <a:pt x="0" y="322350"/>
                          </a:cubicBezTo>
                          <a:cubicBezTo>
                            <a:pt x="0" y="271521"/>
                            <a:pt x="39882" y="231583"/>
                            <a:pt x="87015" y="231583"/>
                          </a:cubicBezTo>
                          <a:lnTo>
                            <a:pt x="187867" y="231583"/>
                          </a:lnTo>
                          <a:lnTo>
                            <a:pt x="182506" y="205792"/>
                          </a:lnTo>
                          <a:cubicBezTo>
                            <a:pt x="182506" y="154963"/>
                            <a:pt x="222391" y="115025"/>
                            <a:pt x="269527" y="115025"/>
                          </a:cubicBezTo>
                          <a:cubicBezTo>
                            <a:pt x="320743" y="115025"/>
                            <a:pt x="365557" y="115025"/>
                            <a:pt x="404769" y="115025"/>
                          </a:cubicBezTo>
                          <a:lnTo>
                            <a:pt x="419542" y="115025"/>
                          </a:lnTo>
                          <a:lnTo>
                            <a:pt x="414088" y="87137"/>
                          </a:lnTo>
                          <a:cubicBezTo>
                            <a:pt x="414088" y="39938"/>
                            <a:pt x="453963" y="0"/>
                            <a:pt x="501088" y="0"/>
                          </a:cubicBezTo>
                          <a:close/>
                        </a:path>
                      </a:pathLst>
                    </a:custGeom>
                    <a:solidFill>
                      <a:srgbClr val="00BCEB">
                        <a:alpha val="19000"/>
                      </a:srgbClr>
                    </a:solidFill>
                    <a:ln>
                      <a:noFill/>
                    </a:ln>
                  </p:spPr>
                  <p:txBody>
                    <a:bodyPr vert="horz" wrap="square" lIns="91392" tIns="45696" rIns="91392" bIns="45696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l" defTabSz="4569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1349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venir Next" panose="020B0503020202020204" pitchFamily="34" charset="0"/>
                        <a:ea typeface="+mn-ea"/>
                        <a:cs typeface="CiscoSansTT" panose="020B0503020201020303" pitchFamily="34" charset="0"/>
                        <a:sym typeface="Arial"/>
                      </a:endParaRPr>
                    </a:p>
                  </p:txBody>
                </p:sp>
                <p:sp>
                  <p:nvSpPr>
                    <p:cNvPr id="111" name="Freeform 211">
                      <a:extLst>
                        <a:ext uri="{FF2B5EF4-FFF2-40B4-BE49-F238E27FC236}">
                          <a16:creationId xmlns:a16="http://schemas.microsoft.com/office/drawing/2014/main" id="{5A3DDE5D-FE32-8ADA-7A63-48DB80ED5D0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2809240" y="1123950"/>
                      <a:ext cx="919480" cy="455473"/>
                    </a:xfrm>
                    <a:custGeom>
                      <a:avLst/>
                      <a:gdLst>
                        <a:gd name="connsiteX0" fmla="*/ 501088 w 826646"/>
                        <a:gd name="connsiteY0" fmla="*/ 0 h 409487"/>
                        <a:gd name="connsiteX1" fmla="*/ 602589 w 826646"/>
                        <a:gd name="connsiteY1" fmla="*/ 0 h 409487"/>
                        <a:gd name="connsiteX2" fmla="*/ 693214 w 826646"/>
                        <a:gd name="connsiteY2" fmla="*/ 87137 h 409487"/>
                        <a:gd name="connsiteX3" fmla="*/ 687399 w 826646"/>
                        <a:gd name="connsiteY3" fmla="*/ 116636 h 409487"/>
                        <a:gd name="connsiteX4" fmla="*/ 714831 w 826646"/>
                        <a:gd name="connsiteY4" fmla="*/ 122059 h 409487"/>
                        <a:gd name="connsiteX5" fmla="*/ 769899 w 826646"/>
                        <a:gd name="connsiteY5" fmla="*/ 205792 h 409487"/>
                        <a:gd name="connsiteX6" fmla="*/ 763447 w 826646"/>
                        <a:gd name="connsiteY6" fmla="*/ 236587 h 409487"/>
                        <a:gd name="connsiteX7" fmla="*/ 773111 w 826646"/>
                        <a:gd name="connsiteY7" fmla="*/ 238618 h 409487"/>
                        <a:gd name="connsiteX8" fmla="*/ 826646 w 826646"/>
                        <a:gd name="connsiteY8" fmla="*/ 322350 h 409487"/>
                        <a:gd name="connsiteX9" fmla="*/ 739631 w 826646"/>
                        <a:gd name="connsiteY9" fmla="*/ 409487 h 409487"/>
                        <a:gd name="connsiteX10" fmla="*/ 87015 w 826646"/>
                        <a:gd name="connsiteY10" fmla="*/ 409487 h 409487"/>
                        <a:gd name="connsiteX11" fmla="*/ 0 w 826646"/>
                        <a:gd name="connsiteY11" fmla="*/ 322350 h 409487"/>
                        <a:gd name="connsiteX12" fmla="*/ 87015 w 826646"/>
                        <a:gd name="connsiteY12" fmla="*/ 231583 h 409487"/>
                        <a:gd name="connsiteX13" fmla="*/ 187867 w 826646"/>
                        <a:gd name="connsiteY13" fmla="*/ 231583 h 409487"/>
                        <a:gd name="connsiteX14" fmla="*/ 182506 w 826646"/>
                        <a:gd name="connsiteY14" fmla="*/ 205792 h 409487"/>
                        <a:gd name="connsiteX15" fmla="*/ 269527 w 826646"/>
                        <a:gd name="connsiteY15" fmla="*/ 115025 h 409487"/>
                        <a:gd name="connsiteX16" fmla="*/ 404769 w 826646"/>
                        <a:gd name="connsiteY16" fmla="*/ 115025 h 409487"/>
                        <a:gd name="connsiteX17" fmla="*/ 419542 w 826646"/>
                        <a:gd name="connsiteY17" fmla="*/ 115025 h 409487"/>
                        <a:gd name="connsiteX18" fmla="*/ 414088 w 826646"/>
                        <a:gd name="connsiteY18" fmla="*/ 87137 h 409487"/>
                        <a:gd name="connsiteX19" fmla="*/ 501088 w 826646"/>
                        <a:gd name="connsiteY19" fmla="*/ 0 h 40948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826646" h="409487">
                          <a:moveTo>
                            <a:pt x="501088" y="0"/>
                          </a:moveTo>
                          <a:cubicBezTo>
                            <a:pt x="602589" y="0"/>
                            <a:pt x="602589" y="0"/>
                            <a:pt x="602589" y="0"/>
                          </a:cubicBezTo>
                          <a:cubicBezTo>
                            <a:pt x="653339" y="0"/>
                            <a:pt x="693214" y="39938"/>
                            <a:pt x="693214" y="87137"/>
                          </a:cubicBezTo>
                          <a:lnTo>
                            <a:pt x="687399" y="116636"/>
                          </a:lnTo>
                          <a:lnTo>
                            <a:pt x="714831" y="122059"/>
                          </a:lnTo>
                          <a:cubicBezTo>
                            <a:pt x="747464" y="135675"/>
                            <a:pt x="769899" y="167670"/>
                            <a:pt x="769899" y="205792"/>
                          </a:cubicBezTo>
                          <a:lnTo>
                            <a:pt x="763447" y="236587"/>
                          </a:lnTo>
                          <a:lnTo>
                            <a:pt x="773111" y="238618"/>
                          </a:lnTo>
                          <a:cubicBezTo>
                            <a:pt x="804212" y="252233"/>
                            <a:pt x="826646" y="284228"/>
                            <a:pt x="826646" y="322350"/>
                          </a:cubicBezTo>
                          <a:cubicBezTo>
                            <a:pt x="826646" y="369550"/>
                            <a:pt x="786764" y="409487"/>
                            <a:pt x="739631" y="409487"/>
                          </a:cubicBezTo>
                          <a:cubicBezTo>
                            <a:pt x="87015" y="409487"/>
                            <a:pt x="87015" y="409487"/>
                            <a:pt x="87015" y="409487"/>
                          </a:cubicBezTo>
                          <a:cubicBezTo>
                            <a:pt x="39882" y="409487"/>
                            <a:pt x="0" y="369550"/>
                            <a:pt x="0" y="322350"/>
                          </a:cubicBezTo>
                          <a:cubicBezTo>
                            <a:pt x="0" y="271521"/>
                            <a:pt x="39882" y="231583"/>
                            <a:pt x="87015" y="231583"/>
                          </a:cubicBezTo>
                          <a:lnTo>
                            <a:pt x="187867" y="231583"/>
                          </a:lnTo>
                          <a:lnTo>
                            <a:pt x="182506" y="205792"/>
                          </a:lnTo>
                          <a:cubicBezTo>
                            <a:pt x="182506" y="154963"/>
                            <a:pt x="222391" y="115025"/>
                            <a:pt x="269527" y="115025"/>
                          </a:cubicBezTo>
                          <a:cubicBezTo>
                            <a:pt x="320743" y="115025"/>
                            <a:pt x="365557" y="115025"/>
                            <a:pt x="404769" y="115025"/>
                          </a:cubicBezTo>
                          <a:lnTo>
                            <a:pt x="419542" y="115025"/>
                          </a:lnTo>
                          <a:lnTo>
                            <a:pt x="414088" y="87137"/>
                          </a:lnTo>
                          <a:cubicBezTo>
                            <a:pt x="414088" y="39938"/>
                            <a:pt x="453963" y="0"/>
                            <a:pt x="501088" y="0"/>
                          </a:cubicBezTo>
                          <a:close/>
                        </a:path>
                      </a:pathLst>
                    </a:custGeom>
                    <a:solidFill>
                      <a:srgbClr val="00BCEB"/>
                    </a:solidFill>
                    <a:ln>
                      <a:noFill/>
                    </a:ln>
                  </p:spPr>
                  <p:txBody>
                    <a:bodyPr vert="horz" wrap="square" lIns="91392" tIns="45696" rIns="91392" bIns="45696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l" defTabSz="4569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1349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venir Next" panose="020B0503020202020204" pitchFamily="34" charset="0"/>
                        <a:ea typeface="+mn-ea"/>
                        <a:cs typeface="CiscoSansTT" panose="020B0503020201020303" pitchFamily="34" charset="0"/>
                        <a:sym typeface="Arial"/>
                      </a:endParaRPr>
                    </a:p>
                  </p:txBody>
                </p:sp>
              </p:grpSp>
              <p:sp>
                <p:nvSpPr>
                  <p:cNvPr id="109" name="TextBox 108">
                    <a:extLst>
                      <a:ext uri="{FF2B5EF4-FFF2-40B4-BE49-F238E27FC236}">
                        <a16:creationId xmlns:a16="http://schemas.microsoft.com/office/drawing/2014/main" id="{01715667-96CD-AFFA-26CE-1DDEF1213F2F}"/>
                      </a:ext>
                    </a:extLst>
                  </p:cNvPr>
                  <p:cNvSpPr txBox="1"/>
                  <p:nvPr/>
                </p:nvSpPr>
                <p:spPr>
                  <a:xfrm>
                    <a:off x="4130324" y="1485247"/>
                    <a:ext cx="412509" cy="22171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marL="0" marR="0" lvl="0" indent="0" algn="l" defTabSz="45698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r>
                      <a:rPr kumimoji="0" lang="en-US" sz="7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venir Next" panose="020B0503020202020204" pitchFamily="34" charset="0"/>
                        <a:ea typeface="+mn-ea"/>
                        <a:cs typeface="CiscoSansTT" panose="020B0503020201020303" pitchFamily="34" charset="0"/>
                        <a:sym typeface="Arial"/>
                      </a:rPr>
                      <a:t>Saas</a:t>
                    </a:r>
                    <a:endParaRPr kumimoji="0" 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" panose="020B0503020202020204" pitchFamily="34" charset="0"/>
                      <a:ea typeface="+mn-ea"/>
                      <a:cs typeface="CiscoSansTT" panose="020B0503020201020303" pitchFamily="34" charset="0"/>
                      <a:sym typeface="Arial"/>
                    </a:endParaRPr>
                  </a:p>
                </p:txBody>
              </p:sp>
            </p:grpSp>
            <p:grpSp>
              <p:nvGrpSpPr>
                <p:cNvPr id="105" name="Group 104">
                  <a:extLst>
                    <a:ext uri="{FF2B5EF4-FFF2-40B4-BE49-F238E27FC236}">
                      <a16:creationId xmlns:a16="http://schemas.microsoft.com/office/drawing/2014/main" id="{AEE32EAC-117F-48E0-E400-EB7A8BE69B6C}"/>
                    </a:ext>
                  </a:extLst>
                </p:cNvPr>
                <p:cNvGrpSpPr/>
                <p:nvPr/>
              </p:nvGrpSpPr>
              <p:grpSpPr>
                <a:xfrm>
                  <a:off x="5276950" y="2083741"/>
                  <a:ext cx="627093" cy="326411"/>
                  <a:chOff x="3983678" y="1380547"/>
                  <a:chExt cx="627093" cy="326411"/>
                </a:xfrm>
              </p:grpSpPr>
              <p:sp>
                <p:nvSpPr>
                  <p:cNvPr id="106" name="Freeform 206">
                    <a:extLst>
                      <a:ext uri="{FF2B5EF4-FFF2-40B4-BE49-F238E27FC236}">
                        <a16:creationId xmlns:a16="http://schemas.microsoft.com/office/drawing/2014/main" id="{31256AA4-4369-09E4-4A73-3C8C04885F9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83678" y="1380547"/>
                    <a:ext cx="627093" cy="310636"/>
                  </a:xfrm>
                  <a:custGeom>
                    <a:avLst/>
                    <a:gdLst>
                      <a:gd name="connsiteX0" fmla="*/ 501088 w 826646"/>
                      <a:gd name="connsiteY0" fmla="*/ 0 h 409487"/>
                      <a:gd name="connsiteX1" fmla="*/ 602589 w 826646"/>
                      <a:gd name="connsiteY1" fmla="*/ 0 h 409487"/>
                      <a:gd name="connsiteX2" fmla="*/ 693214 w 826646"/>
                      <a:gd name="connsiteY2" fmla="*/ 87137 h 409487"/>
                      <a:gd name="connsiteX3" fmla="*/ 687399 w 826646"/>
                      <a:gd name="connsiteY3" fmla="*/ 116636 h 409487"/>
                      <a:gd name="connsiteX4" fmla="*/ 714831 w 826646"/>
                      <a:gd name="connsiteY4" fmla="*/ 122059 h 409487"/>
                      <a:gd name="connsiteX5" fmla="*/ 769899 w 826646"/>
                      <a:gd name="connsiteY5" fmla="*/ 205792 h 409487"/>
                      <a:gd name="connsiteX6" fmla="*/ 763447 w 826646"/>
                      <a:gd name="connsiteY6" fmla="*/ 236587 h 409487"/>
                      <a:gd name="connsiteX7" fmla="*/ 773111 w 826646"/>
                      <a:gd name="connsiteY7" fmla="*/ 238618 h 409487"/>
                      <a:gd name="connsiteX8" fmla="*/ 826646 w 826646"/>
                      <a:gd name="connsiteY8" fmla="*/ 322350 h 409487"/>
                      <a:gd name="connsiteX9" fmla="*/ 739631 w 826646"/>
                      <a:gd name="connsiteY9" fmla="*/ 409487 h 409487"/>
                      <a:gd name="connsiteX10" fmla="*/ 87015 w 826646"/>
                      <a:gd name="connsiteY10" fmla="*/ 409487 h 409487"/>
                      <a:gd name="connsiteX11" fmla="*/ 0 w 826646"/>
                      <a:gd name="connsiteY11" fmla="*/ 322350 h 409487"/>
                      <a:gd name="connsiteX12" fmla="*/ 87015 w 826646"/>
                      <a:gd name="connsiteY12" fmla="*/ 231583 h 409487"/>
                      <a:gd name="connsiteX13" fmla="*/ 187867 w 826646"/>
                      <a:gd name="connsiteY13" fmla="*/ 231583 h 409487"/>
                      <a:gd name="connsiteX14" fmla="*/ 182506 w 826646"/>
                      <a:gd name="connsiteY14" fmla="*/ 205792 h 409487"/>
                      <a:gd name="connsiteX15" fmla="*/ 269527 w 826646"/>
                      <a:gd name="connsiteY15" fmla="*/ 115025 h 409487"/>
                      <a:gd name="connsiteX16" fmla="*/ 404769 w 826646"/>
                      <a:gd name="connsiteY16" fmla="*/ 115025 h 409487"/>
                      <a:gd name="connsiteX17" fmla="*/ 419542 w 826646"/>
                      <a:gd name="connsiteY17" fmla="*/ 115025 h 409487"/>
                      <a:gd name="connsiteX18" fmla="*/ 414088 w 826646"/>
                      <a:gd name="connsiteY18" fmla="*/ 87137 h 409487"/>
                      <a:gd name="connsiteX19" fmla="*/ 501088 w 826646"/>
                      <a:gd name="connsiteY19" fmla="*/ 0 h 409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6646" h="409487">
                        <a:moveTo>
                          <a:pt x="501088" y="0"/>
                        </a:moveTo>
                        <a:cubicBezTo>
                          <a:pt x="602589" y="0"/>
                          <a:pt x="602589" y="0"/>
                          <a:pt x="602589" y="0"/>
                        </a:cubicBezTo>
                        <a:cubicBezTo>
                          <a:pt x="653339" y="0"/>
                          <a:pt x="693214" y="39938"/>
                          <a:pt x="693214" y="87137"/>
                        </a:cubicBezTo>
                        <a:lnTo>
                          <a:pt x="687399" y="116636"/>
                        </a:lnTo>
                        <a:lnTo>
                          <a:pt x="714831" y="122059"/>
                        </a:lnTo>
                        <a:cubicBezTo>
                          <a:pt x="747464" y="135675"/>
                          <a:pt x="769899" y="167670"/>
                          <a:pt x="769899" y="205792"/>
                        </a:cubicBezTo>
                        <a:lnTo>
                          <a:pt x="763447" y="236587"/>
                        </a:lnTo>
                        <a:lnTo>
                          <a:pt x="773111" y="238618"/>
                        </a:lnTo>
                        <a:cubicBezTo>
                          <a:pt x="804212" y="252233"/>
                          <a:pt x="826646" y="284228"/>
                          <a:pt x="826646" y="322350"/>
                        </a:cubicBezTo>
                        <a:cubicBezTo>
                          <a:pt x="826646" y="369550"/>
                          <a:pt x="786764" y="409487"/>
                          <a:pt x="739631" y="409487"/>
                        </a:cubicBezTo>
                        <a:cubicBezTo>
                          <a:pt x="87015" y="409487"/>
                          <a:pt x="87015" y="409487"/>
                          <a:pt x="87015" y="409487"/>
                        </a:cubicBezTo>
                        <a:cubicBezTo>
                          <a:pt x="39882" y="409487"/>
                          <a:pt x="0" y="369550"/>
                          <a:pt x="0" y="322350"/>
                        </a:cubicBezTo>
                        <a:cubicBezTo>
                          <a:pt x="0" y="271521"/>
                          <a:pt x="39882" y="231583"/>
                          <a:pt x="87015" y="231583"/>
                        </a:cubicBezTo>
                        <a:lnTo>
                          <a:pt x="187867" y="231583"/>
                        </a:lnTo>
                        <a:lnTo>
                          <a:pt x="182506" y="205792"/>
                        </a:lnTo>
                        <a:cubicBezTo>
                          <a:pt x="182506" y="154963"/>
                          <a:pt x="222391" y="115025"/>
                          <a:pt x="269527" y="115025"/>
                        </a:cubicBezTo>
                        <a:cubicBezTo>
                          <a:pt x="320743" y="115025"/>
                          <a:pt x="365557" y="115025"/>
                          <a:pt x="404769" y="115025"/>
                        </a:cubicBezTo>
                        <a:lnTo>
                          <a:pt x="419542" y="115025"/>
                        </a:lnTo>
                        <a:lnTo>
                          <a:pt x="414088" y="87137"/>
                        </a:lnTo>
                        <a:cubicBezTo>
                          <a:pt x="414088" y="39938"/>
                          <a:pt x="453963" y="0"/>
                          <a:pt x="501088" y="0"/>
                        </a:cubicBezTo>
                        <a:close/>
                      </a:path>
                    </a:pathLst>
                  </a:custGeom>
                  <a:solidFill>
                    <a:srgbClr val="00BCEB"/>
                  </a:solidFill>
                  <a:ln>
                    <a:noFill/>
                  </a:ln>
                </p:spPr>
                <p:txBody>
                  <a:bodyPr vert="horz" wrap="square" lIns="91392" tIns="45696" rIns="91392" bIns="45696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698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en-US" sz="134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" panose="020B0503020202020204" pitchFamily="34" charset="0"/>
                      <a:ea typeface="+mn-ea"/>
                      <a:cs typeface="CiscoSansTT" panose="020B0503020201020303" pitchFamily="34" charset="0"/>
                      <a:sym typeface="Arial"/>
                    </a:endParaRPr>
                  </a:p>
                </p:txBody>
              </p:sp>
              <p:sp>
                <p:nvSpPr>
                  <p:cNvPr id="107" name="TextBox 106">
                    <a:extLst>
                      <a:ext uri="{FF2B5EF4-FFF2-40B4-BE49-F238E27FC236}">
                        <a16:creationId xmlns:a16="http://schemas.microsoft.com/office/drawing/2014/main" id="{E1472CFA-83E2-7601-FAF0-20F8207D2E01}"/>
                      </a:ext>
                    </a:extLst>
                  </p:cNvPr>
                  <p:cNvSpPr txBox="1"/>
                  <p:nvPr/>
                </p:nvSpPr>
                <p:spPr>
                  <a:xfrm>
                    <a:off x="4159396" y="1485248"/>
                    <a:ext cx="412509" cy="22171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marL="0" marR="0" lvl="0" indent="0" algn="l" defTabSz="45698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r>
                      <a:rPr kumimoji="0" lang="en-US" sz="7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venir Next" panose="020B0503020202020204" pitchFamily="34" charset="0"/>
                        <a:ea typeface="+mn-ea"/>
                        <a:cs typeface="CiscoSansTT" panose="020B0503020201020303" pitchFamily="34" charset="0"/>
                        <a:sym typeface="Arial"/>
                      </a:rPr>
                      <a:t>Saas</a:t>
                    </a:r>
                    <a:endParaRPr kumimoji="0" lang="en-US" sz="9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" panose="020B0503020202020204" pitchFamily="34" charset="0"/>
                      <a:ea typeface="+mn-ea"/>
                      <a:cs typeface="CiscoSansTT" panose="020B0503020201020303" pitchFamily="34" charset="0"/>
                      <a:sym typeface="Arial"/>
                    </a:endParaRPr>
                  </a:p>
                </p:txBody>
              </p:sp>
            </p:grpSp>
          </p:grp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4179907A-CBD1-B894-ACE1-C067AFDBD1BA}"/>
                  </a:ext>
                </a:extLst>
              </p:cNvPr>
              <p:cNvGrpSpPr/>
              <p:nvPr/>
            </p:nvGrpSpPr>
            <p:grpSpPr>
              <a:xfrm>
                <a:off x="2270156" y="1208849"/>
                <a:ext cx="3643843" cy="3496267"/>
                <a:chOff x="3334351" y="1352550"/>
                <a:chExt cx="2733594" cy="2622883"/>
              </a:xfrm>
              <a:solidFill>
                <a:srgbClr val="FBAB2C"/>
              </a:solidFill>
            </p:grpSpPr>
            <p:sp>
              <p:nvSpPr>
                <p:cNvPr id="93" name="Shape">
                  <a:extLst>
                    <a:ext uri="{FF2B5EF4-FFF2-40B4-BE49-F238E27FC236}">
                      <a16:creationId xmlns:a16="http://schemas.microsoft.com/office/drawing/2014/main" id="{54C8391C-420E-4509-8FA5-1FA3E56A3F3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471604" y="3821250"/>
                  <a:ext cx="127658" cy="15418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4339" y="7209"/>
                      </a:moveTo>
                      <a:cubicBezTo>
                        <a:pt x="4339" y="4212"/>
                        <a:pt x="7222" y="1809"/>
                        <a:pt x="10816" y="1809"/>
                      </a:cubicBezTo>
                      <a:cubicBezTo>
                        <a:pt x="14378" y="1809"/>
                        <a:pt x="17293" y="4212"/>
                        <a:pt x="17293" y="7209"/>
                      </a:cubicBezTo>
                      <a:lnTo>
                        <a:pt x="17293" y="9909"/>
                      </a:lnTo>
                      <a:lnTo>
                        <a:pt x="4339" y="9909"/>
                      </a:lnTo>
                      <a:lnTo>
                        <a:pt x="4339" y="7209"/>
                      </a:lnTo>
                      <a:close/>
                      <a:moveTo>
                        <a:pt x="19430" y="9909"/>
                      </a:moveTo>
                      <a:lnTo>
                        <a:pt x="19430" y="7209"/>
                      </a:lnTo>
                      <a:cubicBezTo>
                        <a:pt x="19430" y="3240"/>
                        <a:pt x="15544" y="0"/>
                        <a:pt x="10816" y="0"/>
                      </a:cubicBezTo>
                      <a:cubicBezTo>
                        <a:pt x="6056" y="0"/>
                        <a:pt x="2170" y="3240"/>
                        <a:pt x="2170" y="7209"/>
                      </a:cubicBezTo>
                      <a:lnTo>
                        <a:pt x="2170" y="9909"/>
                      </a:lnTo>
                      <a:lnTo>
                        <a:pt x="0" y="9909"/>
                      </a:lnTo>
                      <a:lnTo>
                        <a:pt x="0" y="20682"/>
                      </a:lnTo>
                      <a:cubicBezTo>
                        <a:pt x="0" y="21195"/>
                        <a:pt x="486" y="21600"/>
                        <a:pt x="1101" y="21600"/>
                      </a:cubicBezTo>
                      <a:lnTo>
                        <a:pt x="20531" y="21600"/>
                      </a:lnTo>
                      <a:cubicBezTo>
                        <a:pt x="21114" y="21600"/>
                        <a:pt x="21600" y="21195"/>
                        <a:pt x="21600" y="20682"/>
                      </a:cubicBezTo>
                      <a:lnTo>
                        <a:pt x="21600" y="9909"/>
                      </a:lnTo>
                      <a:lnTo>
                        <a:pt x="19430" y="9909"/>
                      </a:lnTo>
                      <a:close/>
                    </a:path>
                  </a:pathLst>
                </a:custGeom>
                <a:grpFill/>
                <a:ln w="12700">
                  <a:noFill/>
                  <a:miter lim="400000"/>
                </a:ln>
              </p:spPr>
              <p:txBody>
                <a:bodyPr lIns="45695" rIns="45695"/>
                <a:lstStyle/>
                <a:p>
                  <a:pPr marL="0" marR="0" lvl="0" indent="0" algn="l" defTabSz="6854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 sz="1300">
                      <a:latin typeface="CiscoSansTT ExtraLight"/>
                      <a:ea typeface="CiscoSansTT ExtraLight"/>
                      <a:cs typeface="CiscoSansTT ExtraLight"/>
                      <a:sym typeface="CiscoSansTT ExtraLight"/>
                    </a:defRPr>
                  </a:pPr>
                  <a:endParaRPr kumimoji="0" sz="10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Next" panose="020B0503020202020204" pitchFamily="34" charset="0"/>
                    <a:ea typeface="CiscoSansTT ExtraLight"/>
                    <a:cs typeface="CiscoSansTT" panose="020B0503020201020303" pitchFamily="34" charset="0"/>
                    <a:sym typeface="CiscoSansTT ExtraLight"/>
                  </a:endParaRPr>
                </a:p>
              </p:txBody>
            </p:sp>
            <p:sp>
              <p:nvSpPr>
                <p:cNvPr id="94" name="Shape">
                  <a:extLst>
                    <a:ext uri="{FF2B5EF4-FFF2-40B4-BE49-F238E27FC236}">
                      <a16:creationId xmlns:a16="http://schemas.microsoft.com/office/drawing/2014/main" id="{6A09BE19-A54C-E981-88D4-B2DECFD05D9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070335" y="3655724"/>
                  <a:ext cx="127658" cy="15418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4339" y="7209"/>
                      </a:moveTo>
                      <a:cubicBezTo>
                        <a:pt x="4339" y="4212"/>
                        <a:pt x="7222" y="1809"/>
                        <a:pt x="10816" y="1809"/>
                      </a:cubicBezTo>
                      <a:cubicBezTo>
                        <a:pt x="14378" y="1809"/>
                        <a:pt x="17293" y="4212"/>
                        <a:pt x="17293" y="7209"/>
                      </a:cubicBezTo>
                      <a:lnTo>
                        <a:pt x="17293" y="9909"/>
                      </a:lnTo>
                      <a:lnTo>
                        <a:pt x="4339" y="9909"/>
                      </a:lnTo>
                      <a:lnTo>
                        <a:pt x="4339" y="7209"/>
                      </a:lnTo>
                      <a:close/>
                      <a:moveTo>
                        <a:pt x="19430" y="9909"/>
                      </a:moveTo>
                      <a:lnTo>
                        <a:pt x="19430" y="7209"/>
                      </a:lnTo>
                      <a:cubicBezTo>
                        <a:pt x="19430" y="3240"/>
                        <a:pt x="15544" y="0"/>
                        <a:pt x="10816" y="0"/>
                      </a:cubicBezTo>
                      <a:cubicBezTo>
                        <a:pt x="6056" y="0"/>
                        <a:pt x="2170" y="3240"/>
                        <a:pt x="2170" y="7209"/>
                      </a:cubicBezTo>
                      <a:lnTo>
                        <a:pt x="2170" y="9909"/>
                      </a:lnTo>
                      <a:lnTo>
                        <a:pt x="0" y="9909"/>
                      </a:lnTo>
                      <a:lnTo>
                        <a:pt x="0" y="20682"/>
                      </a:lnTo>
                      <a:cubicBezTo>
                        <a:pt x="0" y="21195"/>
                        <a:pt x="486" y="21600"/>
                        <a:pt x="1101" y="21600"/>
                      </a:cubicBezTo>
                      <a:lnTo>
                        <a:pt x="20531" y="21600"/>
                      </a:lnTo>
                      <a:cubicBezTo>
                        <a:pt x="21114" y="21600"/>
                        <a:pt x="21600" y="21195"/>
                        <a:pt x="21600" y="20682"/>
                      </a:cubicBezTo>
                      <a:lnTo>
                        <a:pt x="21600" y="9909"/>
                      </a:lnTo>
                      <a:lnTo>
                        <a:pt x="19430" y="9909"/>
                      </a:lnTo>
                      <a:close/>
                    </a:path>
                  </a:pathLst>
                </a:custGeom>
                <a:grpFill/>
                <a:ln w="12700">
                  <a:noFill/>
                  <a:miter lim="400000"/>
                </a:ln>
              </p:spPr>
              <p:txBody>
                <a:bodyPr lIns="45695" rIns="45695"/>
                <a:lstStyle/>
                <a:p>
                  <a:pPr marL="0" marR="0" lvl="0" indent="0" algn="l" defTabSz="6854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 sz="1300">
                      <a:latin typeface="CiscoSansTT ExtraLight"/>
                      <a:ea typeface="CiscoSansTT ExtraLight"/>
                      <a:cs typeface="CiscoSansTT ExtraLight"/>
                      <a:sym typeface="CiscoSansTT ExtraLight"/>
                    </a:defRPr>
                  </a:pPr>
                  <a:endParaRPr kumimoji="0" sz="10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Next" panose="020B0503020202020204" pitchFamily="34" charset="0"/>
                    <a:ea typeface="CiscoSansTT ExtraLight"/>
                    <a:cs typeface="CiscoSansTT" panose="020B0503020201020303" pitchFamily="34" charset="0"/>
                    <a:sym typeface="CiscoSansTT ExtraLight"/>
                  </a:endParaRPr>
                </a:p>
              </p:txBody>
            </p:sp>
            <p:sp>
              <p:nvSpPr>
                <p:cNvPr id="95" name="Shape">
                  <a:extLst>
                    <a:ext uri="{FF2B5EF4-FFF2-40B4-BE49-F238E27FC236}">
                      <a16:creationId xmlns:a16="http://schemas.microsoft.com/office/drawing/2014/main" id="{3DE9FFD2-A8A2-2DF8-4AF7-6F8C236138F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334351" y="2342348"/>
                  <a:ext cx="127658" cy="15418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4339" y="7209"/>
                      </a:moveTo>
                      <a:cubicBezTo>
                        <a:pt x="4339" y="4212"/>
                        <a:pt x="7222" y="1809"/>
                        <a:pt x="10816" y="1809"/>
                      </a:cubicBezTo>
                      <a:cubicBezTo>
                        <a:pt x="14378" y="1809"/>
                        <a:pt x="17293" y="4212"/>
                        <a:pt x="17293" y="7209"/>
                      </a:cubicBezTo>
                      <a:lnTo>
                        <a:pt x="17293" y="9909"/>
                      </a:lnTo>
                      <a:lnTo>
                        <a:pt x="4339" y="9909"/>
                      </a:lnTo>
                      <a:lnTo>
                        <a:pt x="4339" y="7209"/>
                      </a:lnTo>
                      <a:close/>
                      <a:moveTo>
                        <a:pt x="19430" y="9909"/>
                      </a:moveTo>
                      <a:lnTo>
                        <a:pt x="19430" y="7209"/>
                      </a:lnTo>
                      <a:cubicBezTo>
                        <a:pt x="19430" y="3240"/>
                        <a:pt x="15544" y="0"/>
                        <a:pt x="10816" y="0"/>
                      </a:cubicBezTo>
                      <a:cubicBezTo>
                        <a:pt x="6056" y="0"/>
                        <a:pt x="2170" y="3240"/>
                        <a:pt x="2170" y="7209"/>
                      </a:cubicBezTo>
                      <a:lnTo>
                        <a:pt x="2170" y="9909"/>
                      </a:lnTo>
                      <a:lnTo>
                        <a:pt x="0" y="9909"/>
                      </a:lnTo>
                      <a:lnTo>
                        <a:pt x="0" y="20682"/>
                      </a:lnTo>
                      <a:cubicBezTo>
                        <a:pt x="0" y="21195"/>
                        <a:pt x="486" y="21600"/>
                        <a:pt x="1101" y="21600"/>
                      </a:cubicBezTo>
                      <a:lnTo>
                        <a:pt x="20531" y="21600"/>
                      </a:lnTo>
                      <a:cubicBezTo>
                        <a:pt x="21114" y="21600"/>
                        <a:pt x="21600" y="21195"/>
                        <a:pt x="21600" y="20682"/>
                      </a:cubicBezTo>
                      <a:lnTo>
                        <a:pt x="21600" y="9909"/>
                      </a:lnTo>
                      <a:lnTo>
                        <a:pt x="19430" y="9909"/>
                      </a:lnTo>
                      <a:close/>
                    </a:path>
                  </a:pathLst>
                </a:custGeom>
                <a:grpFill/>
                <a:ln w="12700">
                  <a:noFill/>
                  <a:miter lim="400000"/>
                </a:ln>
              </p:spPr>
              <p:txBody>
                <a:bodyPr lIns="45695" rIns="45695"/>
                <a:lstStyle/>
                <a:p>
                  <a:pPr marL="0" marR="0" lvl="0" indent="0" algn="l" defTabSz="6854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 sz="1300">
                      <a:latin typeface="CiscoSansTT ExtraLight"/>
                      <a:ea typeface="CiscoSansTT ExtraLight"/>
                      <a:cs typeface="CiscoSansTT ExtraLight"/>
                      <a:sym typeface="CiscoSansTT ExtraLight"/>
                    </a:defRPr>
                  </a:pPr>
                  <a:endParaRPr kumimoji="0" sz="10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Next" panose="020B0503020202020204" pitchFamily="34" charset="0"/>
                    <a:ea typeface="CiscoSansTT ExtraLight"/>
                    <a:cs typeface="CiscoSansTT" panose="020B0503020201020303" pitchFamily="34" charset="0"/>
                    <a:sym typeface="CiscoSansTT ExtraLight"/>
                  </a:endParaRPr>
                </a:p>
              </p:txBody>
            </p:sp>
            <p:sp>
              <p:nvSpPr>
                <p:cNvPr id="96" name="Shape">
                  <a:extLst>
                    <a:ext uri="{FF2B5EF4-FFF2-40B4-BE49-F238E27FC236}">
                      <a16:creationId xmlns:a16="http://schemas.microsoft.com/office/drawing/2014/main" id="{1C7F63F5-F4FF-0602-2D2D-D48589CF1C9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895825" y="1970973"/>
                  <a:ext cx="127658" cy="15418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4339" y="7209"/>
                      </a:moveTo>
                      <a:cubicBezTo>
                        <a:pt x="4339" y="4212"/>
                        <a:pt x="7222" y="1809"/>
                        <a:pt x="10816" y="1809"/>
                      </a:cubicBezTo>
                      <a:cubicBezTo>
                        <a:pt x="14378" y="1809"/>
                        <a:pt x="17293" y="4212"/>
                        <a:pt x="17293" y="7209"/>
                      </a:cubicBezTo>
                      <a:lnTo>
                        <a:pt x="17293" y="9909"/>
                      </a:lnTo>
                      <a:lnTo>
                        <a:pt x="4339" y="9909"/>
                      </a:lnTo>
                      <a:lnTo>
                        <a:pt x="4339" y="7209"/>
                      </a:lnTo>
                      <a:close/>
                      <a:moveTo>
                        <a:pt x="19430" y="9909"/>
                      </a:moveTo>
                      <a:lnTo>
                        <a:pt x="19430" y="7209"/>
                      </a:lnTo>
                      <a:cubicBezTo>
                        <a:pt x="19430" y="3240"/>
                        <a:pt x="15544" y="0"/>
                        <a:pt x="10816" y="0"/>
                      </a:cubicBezTo>
                      <a:cubicBezTo>
                        <a:pt x="6056" y="0"/>
                        <a:pt x="2170" y="3240"/>
                        <a:pt x="2170" y="7209"/>
                      </a:cubicBezTo>
                      <a:lnTo>
                        <a:pt x="2170" y="9909"/>
                      </a:lnTo>
                      <a:lnTo>
                        <a:pt x="0" y="9909"/>
                      </a:lnTo>
                      <a:lnTo>
                        <a:pt x="0" y="20682"/>
                      </a:lnTo>
                      <a:cubicBezTo>
                        <a:pt x="0" y="21195"/>
                        <a:pt x="486" y="21600"/>
                        <a:pt x="1101" y="21600"/>
                      </a:cubicBezTo>
                      <a:lnTo>
                        <a:pt x="20531" y="21600"/>
                      </a:lnTo>
                      <a:cubicBezTo>
                        <a:pt x="21114" y="21600"/>
                        <a:pt x="21600" y="21195"/>
                        <a:pt x="21600" y="20682"/>
                      </a:cubicBezTo>
                      <a:lnTo>
                        <a:pt x="21600" y="9909"/>
                      </a:lnTo>
                      <a:lnTo>
                        <a:pt x="19430" y="9909"/>
                      </a:lnTo>
                      <a:close/>
                    </a:path>
                  </a:pathLst>
                </a:custGeom>
                <a:grpFill/>
                <a:ln w="12700">
                  <a:noFill/>
                  <a:miter lim="400000"/>
                </a:ln>
              </p:spPr>
              <p:txBody>
                <a:bodyPr lIns="45695" rIns="45695"/>
                <a:lstStyle/>
                <a:p>
                  <a:pPr marL="0" marR="0" lvl="0" indent="0" algn="l" defTabSz="6854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 sz="1300">
                      <a:latin typeface="CiscoSansTT ExtraLight"/>
                      <a:ea typeface="CiscoSansTT ExtraLight"/>
                      <a:cs typeface="CiscoSansTT ExtraLight"/>
                      <a:sym typeface="CiscoSansTT ExtraLight"/>
                    </a:defRPr>
                  </a:pPr>
                  <a:endParaRPr kumimoji="0" sz="10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Next" panose="020B0503020202020204" pitchFamily="34" charset="0"/>
                    <a:ea typeface="CiscoSansTT ExtraLight"/>
                    <a:cs typeface="CiscoSansTT" panose="020B0503020201020303" pitchFamily="34" charset="0"/>
                    <a:sym typeface="CiscoSansTT ExtraLight"/>
                  </a:endParaRPr>
                </a:p>
              </p:txBody>
            </p:sp>
            <p:sp>
              <p:nvSpPr>
                <p:cNvPr id="97" name="Shape">
                  <a:extLst>
                    <a:ext uri="{FF2B5EF4-FFF2-40B4-BE49-F238E27FC236}">
                      <a16:creationId xmlns:a16="http://schemas.microsoft.com/office/drawing/2014/main" id="{393ECA04-17E4-3BD0-B752-F726791C32D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724400" y="1352550"/>
                  <a:ext cx="127658" cy="15418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4339" y="7209"/>
                      </a:moveTo>
                      <a:cubicBezTo>
                        <a:pt x="4339" y="4212"/>
                        <a:pt x="7222" y="1809"/>
                        <a:pt x="10816" y="1809"/>
                      </a:cubicBezTo>
                      <a:cubicBezTo>
                        <a:pt x="14378" y="1809"/>
                        <a:pt x="17293" y="4212"/>
                        <a:pt x="17293" y="7209"/>
                      </a:cubicBezTo>
                      <a:lnTo>
                        <a:pt x="17293" y="9909"/>
                      </a:lnTo>
                      <a:lnTo>
                        <a:pt x="4339" y="9909"/>
                      </a:lnTo>
                      <a:lnTo>
                        <a:pt x="4339" y="7209"/>
                      </a:lnTo>
                      <a:close/>
                      <a:moveTo>
                        <a:pt x="19430" y="9909"/>
                      </a:moveTo>
                      <a:lnTo>
                        <a:pt x="19430" y="7209"/>
                      </a:lnTo>
                      <a:cubicBezTo>
                        <a:pt x="19430" y="3240"/>
                        <a:pt x="15544" y="0"/>
                        <a:pt x="10816" y="0"/>
                      </a:cubicBezTo>
                      <a:cubicBezTo>
                        <a:pt x="6056" y="0"/>
                        <a:pt x="2170" y="3240"/>
                        <a:pt x="2170" y="7209"/>
                      </a:cubicBezTo>
                      <a:lnTo>
                        <a:pt x="2170" y="9909"/>
                      </a:lnTo>
                      <a:lnTo>
                        <a:pt x="0" y="9909"/>
                      </a:lnTo>
                      <a:lnTo>
                        <a:pt x="0" y="20682"/>
                      </a:lnTo>
                      <a:cubicBezTo>
                        <a:pt x="0" y="21195"/>
                        <a:pt x="486" y="21600"/>
                        <a:pt x="1101" y="21600"/>
                      </a:cubicBezTo>
                      <a:lnTo>
                        <a:pt x="20531" y="21600"/>
                      </a:lnTo>
                      <a:cubicBezTo>
                        <a:pt x="21114" y="21600"/>
                        <a:pt x="21600" y="21195"/>
                        <a:pt x="21600" y="20682"/>
                      </a:cubicBezTo>
                      <a:lnTo>
                        <a:pt x="21600" y="9909"/>
                      </a:lnTo>
                      <a:lnTo>
                        <a:pt x="19430" y="9909"/>
                      </a:lnTo>
                      <a:close/>
                    </a:path>
                  </a:pathLst>
                </a:custGeom>
                <a:grpFill/>
                <a:ln w="12700">
                  <a:noFill/>
                  <a:miter lim="400000"/>
                </a:ln>
              </p:spPr>
              <p:txBody>
                <a:bodyPr lIns="45695" rIns="45695"/>
                <a:lstStyle/>
                <a:p>
                  <a:pPr marL="0" marR="0" lvl="0" indent="0" algn="l" defTabSz="6854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 sz="1300">
                      <a:latin typeface="CiscoSansTT ExtraLight"/>
                      <a:ea typeface="CiscoSansTT ExtraLight"/>
                      <a:cs typeface="CiscoSansTT ExtraLight"/>
                      <a:sym typeface="CiscoSansTT ExtraLight"/>
                    </a:defRPr>
                  </a:pPr>
                  <a:endParaRPr kumimoji="0" sz="10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Next" panose="020B0503020202020204" pitchFamily="34" charset="0"/>
                    <a:ea typeface="CiscoSansTT ExtraLight"/>
                    <a:cs typeface="CiscoSansTT" panose="020B0503020201020303" pitchFamily="34" charset="0"/>
                    <a:sym typeface="CiscoSansTT ExtraLight"/>
                  </a:endParaRPr>
                </a:p>
              </p:txBody>
            </p:sp>
            <p:sp>
              <p:nvSpPr>
                <p:cNvPr id="98" name="Shape">
                  <a:extLst>
                    <a:ext uri="{FF2B5EF4-FFF2-40B4-BE49-F238E27FC236}">
                      <a16:creationId xmlns:a16="http://schemas.microsoft.com/office/drawing/2014/main" id="{27C23471-415B-B2CF-BCDD-DE545F1B48B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105400" y="1962150"/>
                  <a:ext cx="127658" cy="15418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4339" y="7209"/>
                      </a:moveTo>
                      <a:cubicBezTo>
                        <a:pt x="4339" y="4212"/>
                        <a:pt x="7222" y="1809"/>
                        <a:pt x="10816" y="1809"/>
                      </a:cubicBezTo>
                      <a:cubicBezTo>
                        <a:pt x="14378" y="1809"/>
                        <a:pt x="17293" y="4212"/>
                        <a:pt x="17293" y="7209"/>
                      </a:cubicBezTo>
                      <a:lnTo>
                        <a:pt x="17293" y="9909"/>
                      </a:lnTo>
                      <a:lnTo>
                        <a:pt x="4339" y="9909"/>
                      </a:lnTo>
                      <a:lnTo>
                        <a:pt x="4339" y="7209"/>
                      </a:lnTo>
                      <a:close/>
                      <a:moveTo>
                        <a:pt x="19430" y="9909"/>
                      </a:moveTo>
                      <a:lnTo>
                        <a:pt x="19430" y="7209"/>
                      </a:lnTo>
                      <a:cubicBezTo>
                        <a:pt x="19430" y="3240"/>
                        <a:pt x="15544" y="0"/>
                        <a:pt x="10816" y="0"/>
                      </a:cubicBezTo>
                      <a:cubicBezTo>
                        <a:pt x="6056" y="0"/>
                        <a:pt x="2170" y="3240"/>
                        <a:pt x="2170" y="7209"/>
                      </a:cubicBezTo>
                      <a:lnTo>
                        <a:pt x="2170" y="9909"/>
                      </a:lnTo>
                      <a:lnTo>
                        <a:pt x="0" y="9909"/>
                      </a:lnTo>
                      <a:lnTo>
                        <a:pt x="0" y="20682"/>
                      </a:lnTo>
                      <a:cubicBezTo>
                        <a:pt x="0" y="21195"/>
                        <a:pt x="486" y="21600"/>
                        <a:pt x="1101" y="21600"/>
                      </a:cubicBezTo>
                      <a:lnTo>
                        <a:pt x="20531" y="21600"/>
                      </a:lnTo>
                      <a:cubicBezTo>
                        <a:pt x="21114" y="21600"/>
                        <a:pt x="21600" y="21195"/>
                        <a:pt x="21600" y="20682"/>
                      </a:cubicBezTo>
                      <a:lnTo>
                        <a:pt x="21600" y="9909"/>
                      </a:lnTo>
                      <a:lnTo>
                        <a:pt x="19430" y="9909"/>
                      </a:lnTo>
                      <a:close/>
                    </a:path>
                  </a:pathLst>
                </a:custGeom>
                <a:grpFill/>
                <a:ln w="12700">
                  <a:noFill/>
                  <a:miter lim="400000"/>
                </a:ln>
              </p:spPr>
              <p:txBody>
                <a:bodyPr lIns="45695" rIns="45695"/>
                <a:lstStyle/>
                <a:p>
                  <a:pPr marL="0" marR="0" lvl="0" indent="0" algn="l" defTabSz="6854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 sz="1300">
                      <a:latin typeface="CiscoSansTT ExtraLight"/>
                      <a:ea typeface="CiscoSansTT ExtraLight"/>
                      <a:cs typeface="CiscoSansTT ExtraLight"/>
                      <a:sym typeface="CiscoSansTT ExtraLight"/>
                    </a:defRPr>
                  </a:pPr>
                  <a:endParaRPr kumimoji="0" sz="10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Next" panose="020B0503020202020204" pitchFamily="34" charset="0"/>
                    <a:ea typeface="CiscoSansTT ExtraLight"/>
                    <a:cs typeface="CiscoSansTT" panose="020B0503020201020303" pitchFamily="34" charset="0"/>
                    <a:sym typeface="CiscoSansTT ExtraLight"/>
                  </a:endParaRPr>
                </a:p>
              </p:txBody>
            </p:sp>
            <p:sp>
              <p:nvSpPr>
                <p:cNvPr id="99" name="Shape">
                  <a:extLst>
                    <a:ext uri="{FF2B5EF4-FFF2-40B4-BE49-F238E27FC236}">
                      <a16:creationId xmlns:a16="http://schemas.microsoft.com/office/drawing/2014/main" id="{42B78BC1-7D65-FAFD-B18F-B473132BC2C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940287" y="2382907"/>
                  <a:ext cx="127658" cy="15418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4339" y="7209"/>
                      </a:moveTo>
                      <a:cubicBezTo>
                        <a:pt x="4339" y="4212"/>
                        <a:pt x="7222" y="1809"/>
                        <a:pt x="10816" y="1809"/>
                      </a:cubicBezTo>
                      <a:cubicBezTo>
                        <a:pt x="14378" y="1809"/>
                        <a:pt x="17293" y="4212"/>
                        <a:pt x="17293" y="7209"/>
                      </a:cubicBezTo>
                      <a:lnTo>
                        <a:pt x="17293" y="9909"/>
                      </a:lnTo>
                      <a:lnTo>
                        <a:pt x="4339" y="9909"/>
                      </a:lnTo>
                      <a:lnTo>
                        <a:pt x="4339" y="7209"/>
                      </a:lnTo>
                      <a:close/>
                      <a:moveTo>
                        <a:pt x="19430" y="9909"/>
                      </a:moveTo>
                      <a:lnTo>
                        <a:pt x="19430" y="7209"/>
                      </a:lnTo>
                      <a:cubicBezTo>
                        <a:pt x="19430" y="3240"/>
                        <a:pt x="15544" y="0"/>
                        <a:pt x="10816" y="0"/>
                      </a:cubicBezTo>
                      <a:cubicBezTo>
                        <a:pt x="6056" y="0"/>
                        <a:pt x="2170" y="3240"/>
                        <a:pt x="2170" y="7209"/>
                      </a:cubicBezTo>
                      <a:lnTo>
                        <a:pt x="2170" y="9909"/>
                      </a:lnTo>
                      <a:lnTo>
                        <a:pt x="0" y="9909"/>
                      </a:lnTo>
                      <a:lnTo>
                        <a:pt x="0" y="20682"/>
                      </a:lnTo>
                      <a:cubicBezTo>
                        <a:pt x="0" y="21195"/>
                        <a:pt x="486" y="21600"/>
                        <a:pt x="1101" y="21600"/>
                      </a:cubicBezTo>
                      <a:lnTo>
                        <a:pt x="20531" y="21600"/>
                      </a:lnTo>
                      <a:cubicBezTo>
                        <a:pt x="21114" y="21600"/>
                        <a:pt x="21600" y="21195"/>
                        <a:pt x="21600" y="20682"/>
                      </a:cubicBezTo>
                      <a:lnTo>
                        <a:pt x="21600" y="9909"/>
                      </a:lnTo>
                      <a:lnTo>
                        <a:pt x="19430" y="9909"/>
                      </a:lnTo>
                      <a:close/>
                    </a:path>
                  </a:pathLst>
                </a:custGeom>
                <a:grpFill/>
                <a:ln w="12700">
                  <a:noFill/>
                  <a:miter lim="400000"/>
                </a:ln>
              </p:spPr>
              <p:txBody>
                <a:bodyPr lIns="45695" rIns="45695"/>
                <a:lstStyle/>
                <a:p>
                  <a:pPr marL="0" marR="0" lvl="0" indent="0" algn="l" defTabSz="6854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 sz="1300">
                      <a:latin typeface="CiscoSansTT ExtraLight"/>
                      <a:ea typeface="CiscoSansTT ExtraLight"/>
                      <a:cs typeface="CiscoSansTT ExtraLight"/>
                      <a:sym typeface="CiscoSansTT ExtraLight"/>
                    </a:defRPr>
                  </a:pPr>
                  <a:endParaRPr kumimoji="0" sz="10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Next" panose="020B0503020202020204" pitchFamily="34" charset="0"/>
                    <a:ea typeface="CiscoSansTT ExtraLight"/>
                    <a:cs typeface="CiscoSansTT" panose="020B0503020201020303" pitchFamily="34" charset="0"/>
                    <a:sym typeface="CiscoSansTT ExtraLight"/>
                  </a:endParaRPr>
                </a:p>
              </p:txBody>
            </p:sp>
            <p:sp>
              <p:nvSpPr>
                <p:cNvPr id="100" name="Shape">
                  <a:extLst>
                    <a:ext uri="{FF2B5EF4-FFF2-40B4-BE49-F238E27FC236}">
                      <a16:creationId xmlns:a16="http://schemas.microsoft.com/office/drawing/2014/main" id="{49370E71-6945-B591-2788-6D887F218DE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648200" y="3409950"/>
                  <a:ext cx="127658" cy="15418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4339" y="7209"/>
                      </a:moveTo>
                      <a:cubicBezTo>
                        <a:pt x="4339" y="4212"/>
                        <a:pt x="7222" y="1809"/>
                        <a:pt x="10816" y="1809"/>
                      </a:cubicBezTo>
                      <a:cubicBezTo>
                        <a:pt x="14378" y="1809"/>
                        <a:pt x="17293" y="4212"/>
                        <a:pt x="17293" y="7209"/>
                      </a:cubicBezTo>
                      <a:lnTo>
                        <a:pt x="17293" y="9909"/>
                      </a:lnTo>
                      <a:lnTo>
                        <a:pt x="4339" y="9909"/>
                      </a:lnTo>
                      <a:lnTo>
                        <a:pt x="4339" y="7209"/>
                      </a:lnTo>
                      <a:close/>
                      <a:moveTo>
                        <a:pt x="19430" y="9909"/>
                      </a:moveTo>
                      <a:lnTo>
                        <a:pt x="19430" y="7209"/>
                      </a:lnTo>
                      <a:cubicBezTo>
                        <a:pt x="19430" y="3240"/>
                        <a:pt x="15544" y="0"/>
                        <a:pt x="10816" y="0"/>
                      </a:cubicBezTo>
                      <a:cubicBezTo>
                        <a:pt x="6056" y="0"/>
                        <a:pt x="2170" y="3240"/>
                        <a:pt x="2170" y="7209"/>
                      </a:cubicBezTo>
                      <a:lnTo>
                        <a:pt x="2170" y="9909"/>
                      </a:lnTo>
                      <a:lnTo>
                        <a:pt x="0" y="9909"/>
                      </a:lnTo>
                      <a:lnTo>
                        <a:pt x="0" y="20682"/>
                      </a:lnTo>
                      <a:cubicBezTo>
                        <a:pt x="0" y="21195"/>
                        <a:pt x="486" y="21600"/>
                        <a:pt x="1101" y="21600"/>
                      </a:cubicBezTo>
                      <a:lnTo>
                        <a:pt x="20531" y="21600"/>
                      </a:lnTo>
                      <a:cubicBezTo>
                        <a:pt x="21114" y="21600"/>
                        <a:pt x="21600" y="21195"/>
                        <a:pt x="21600" y="20682"/>
                      </a:cubicBezTo>
                      <a:lnTo>
                        <a:pt x="21600" y="9909"/>
                      </a:lnTo>
                      <a:lnTo>
                        <a:pt x="19430" y="9909"/>
                      </a:lnTo>
                      <a:close/>
                    </a:path>
                  </a:pathLst>
                </a:custGeom>
                <a:grpFill/>
                <a:ln w="12700">
                  <a:noFill/>
                  <a:miter lim="400000"/>
                </a:ln>
              </p:spPr>
              <p:txBody>
                <a:bodyPr lIns="45695" rIns="45695"/>
                <a:lstStyle/>
                <a:p>
                  <a:pPr marL="0" marR="0" lvl="0" indent="0" algn="l" defTabSz="6854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 sz="1300">
                      <a:latin typeface="CiscoSansTT ExtraLight"/>
                      <a:ea typeface="CiscoSansTT ExtraLight"/>
                      <a:cs typeface="CiscoSansTT ExtraLight"/>
                      <a:sym typeface="CiscoSansTT ExtraLight"/>
                    </a:defRPr>
                  </a:pPr>
                  <a:endParaRPr kumimoji="0" sz="10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Next" panose="020B0503020202020204" pitchFamily="34" charset="0"/>
                    <a:ea typeface="CiscoSansTT ExtraLight"/>
                    <a:cs typeface="CiscoSansTT" panose="020B0503020201020303" pitchFamily="34" charset="0"/>
                    <a:sym typeface="CiscoSansTT ExtraLight"/>
                  </a:endParaRPr>
                </a:p>
              </p:txBody>
            </p:sp>
            <p:sp>
              <p:nvSpPr>
                <p:cNvPr id="101" name="Shape">
                  <a:extLst>
                    <a:ext uri="{FF2B5EF4-FFF2-40B4-BE49-F238E27FC236}">
                      <a16:creationId xmlns:a16="http://schemas.microsoft.com/office/drawing/2014/main" id="{FCA60463-D2F8-CD81-8A47-7FA13512D29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592418" y="3211168"/>
                  <a:ext cx="127658" cy="15418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4339" y="7209"/>
                      </a:moveTo>
                      <a:cubicBezTo>
                        <a:pt x="4339" y="4212"/>
                        <a:pt x="7222" y="1809"/>
                        <a:pt x="10816" y="1809"/>
                      </a:cubicBezTo>
                      <a:cubicBezTo>
                        <a:pt x="14378" y="1809"/>
                        <a:pt x="17293" y="4212"/>
                        <a:pt x="17293" y="7209"/>
                      </a:cubicBezTo>
                      <a:lnTo>
                        <a:pt x="17293" y="9909"/>
                      </a:lnTo>
                      <a:lnTo>
                        <a:pt x="4339" y="9909"/>
                      </a:lnTo>
                      <a:lnTo>
                        <a:pt x="4339" y="7209"/>
                      </a:lnTo>
                      <a:close/>
                      <a:moveTo>
                        <a:pt x="19430" y="9909"/>
                      </a:moveTo>
                      <a:lnTo>
                        <a:pt x="19430" y="7209"/>
                      </a:lnTo>
                      <a:cubicBezTo>
                        <a:pt x="19430" y="3240"/>
                        <a:pt x="15544" y="0"/>
                        <a:pt x="10816" y="0"/>
                      </a:cubicBezTo>
                      <a:cubicBezTo>
                        <a:pt x="6056" y="0"/>
                        <a:pt x="2170" y="3240"/>
                        <a:pt x="2170" y="7209"/>
                      </a:cubicBezTo>
                      <a:lnTo>
                        <a:pt x="2170" y="9909"/>
                      </a:lnTo>
                      <a:lnTo>
                        <a:pt x="0" y="9909"/>
                      </a:lnTo>
                      <a:lnTo>
                        <a:pt x="0" y="20682"/>
                      </a:lnTo>
                      <a:cubicBezTo>
                        <a:pt x="0" y="21195"/>
                        <a:pt x="486" y="21600"/>
                        <a:pt x="1101" y="21600"/>
                      </a:cubicBezTo>
                      <a:lnTo>
                        <a:pt x="20531" y="21600"/>
                      </a:lnTo>
                      <a:cubicBezTo>
                        <a:pt x="21114" y="21600"/>
                        <a:pt x="21600" y="21195"/>
                        <a:pt x="21600" y="20682"/>
                      </a:cubicBezTo>
                      <a:lnTo>
                        <a:pt x="21600" y="9909"/>
                      </a:lnTo>
                      <a:lnTo>
                        <a:pt x="19430" y="9909"/>
                      </a:lnTo>
                      <a:close/>
                    </a:path>
                  </a:pathLst>
                </a:custGeom>
                <a:grpFill/>
                <a:ln w="12700">
                  <a:noFill/>
                  <a:miter lim="400000"/>
                </a:ln>
              </p:spPr>
              <p:txBody>
                <a:bodyPr lIns="45695" rIns="45695"/>
                <a:lstStyle/>
                <a:p>
                  <a:pPr marL="0" marR="0" lvl="0" indent="0" algn="l" defTabSz="68542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 sz="1300">
                      <a:latin typeface="CiscoSansTT ExtraLight"/>
                      <a:ea typeface="CiscoSansTT ExtraLight"/>
                      <a:cs typeface="CiscoSansTT ExtraLight"/>
                      <a:sym typeface="CiscoSansTT ExtraLight"/>
                    </a:defRPr>
                  </a:pPr>
                  <a:endParaRPr kumimoji="0" sz="105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Next" panose="020B0503020202020204" pitchFamily="34" charset="0"/>
                    <a:ea typeface="CiscoSansTT ExtraLight"/>
                    <a:cs typeface="CiscoSansTT" panose="020B0503020201020303" pitchFamily="34" charset="0"/>
                    <a:sym typeface="CiscoSansTT ExtraLight"/>
                  </a:endParaRPr>
                </a:p>
              </p:txBody>
            </p:sp>
          </p:grp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E81E66F8-E825-BC4D-900F-D90126B5DC04}"/>
                  </a:ext>
                </a:extLst>
              </p:cNvPr>
              <p:cNvGrpSpPr/>
              <p:nvPr/>
            </p:nvGrpSpPr>
            <p:grpSpPr>
              <a:xfrm>
                <a:off x="1803809" y="3350357"/>
                <a:ext cx="3139921" cy="1726750"/>
                <a:chOff x="2984500" y="2959100"/>
                <a:chExt cx="2355554" cy="1295400"/>
              </a:xfrm>
            </p:grpSpPr>
            <p:sp>
              <p:nvSpPr>
                <p:cNvPr id="90" name="Freeform 190">
                  <a:extLst>
                    <a:ext uri="{FF2B5EF4-FFF2-40B4-BE49-F238E27FC236}">
                      <a16:creationId xmlns:a16="http://schemas.microsoft.com/office/drawing/2014/main" id="{038BB7DB-7CB6-DE5B-245F-BFB21E5F0B4F}"/>
                    </a:ext>
                  </a:extLst>
                </p:cNvPr>
                <p:cNvSpPr/>
                <p:nvPr/>
              </p:nvSpPr>
              <p:spPr>
                <a:xfrm>
                  <a:off x="4864100" y="3200400"/>
                  <a:ext cx="241300" cy="1054100"/>
                </a:xfrm>
                <a:custGeom>
                  <a:avLst/>
                  <a:gdLst>
                    <a:gd name="connsiteX0" fmla="*/ 241300 w 241300"/>
                    <a:gd name="connsiteY0" fmla="*/ 1054100 h 1054100"/>
                    <a:gd name="connsiteX1" fmla="*/ 241300 w 241300"/>
                    <a:gd name="connsiteY1" fmla="*/ 457200 h 1054100"/>
                    <a:gd name="connsiteX2" fmla="*/ 0 w 241300"/>
                    <a:gd name="connsiteY2" fmla="*/ 457200 h 1054100"/>
                    <a:gd name="connsiteX3" fmla="*/ 0 w 241300"/>
                    <a:gd name="connsiteY3" fmla="*/ 0 h 1054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1300" h="1054100">
                      <a:moveTo>
                        <a:pt x="241300" y="1054100"/>
                      </a:moveTo>
                      <a:lnTo>
                        <a:pt x="241300" y="457200"/>
                      </a:lnTo>
                      <a:lnTo>
                        <a:pt x="0" y="45720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5875" cap="rnd" cmpd="sng" algn="ctr">
                  <a:solidFill>
                    <a:srgbClr val="FFFFFF"/>
                  </a:solidFill>
                  <a:prstDash val="sysDot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69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Next" panose="020B0503020202020204" pitchFamily="34" charset="0"/>
                    <a:ea typeface="+mn-ea"/>
                    <a:cs typeface="CiscoSansTT" panose="020B0503020201020303" pitchFamily="34" charset="0"/>
                    <a:sym typeface="Arial"/>
                  </a:endParaRPr>
                </a:p>
              </p:txBody>
            </p:sp>
            <p:sp>
              <p:nvSpPr>
                <p:cNvPr id="91" name="Freeform 191">
                  <a:extLst>
                    <a:ext uri="{FF2B5EF4-FFF2-40B4-BE49-F238E27FC236}">
                      <a16:creationId xmlns:a16="http://schemas.microsoft.com/office/drawing/2014/main" id="{3B18AFC2-649B-F5D7-E364-C9901AE434E7}"/>
                    </a:ext>
                  </a:extLst>
                </p:cNvPr>
                <p:cNvSpPr/>
                <p:nvPr/>
              </p:nvSpPr>
              <p:spPr>
                <a:xfrm>
                  <a:off x="2984500" y="2959100"/>
                  <a:ext cx="2006600" cy="1295400"/>
                </a:xfrm>
                <a:custGeom>
                  <a:avLst/>
                  <a:gdLst>
                    <a:gd name="connsiteX0" fmla="*/ 2006600 w 2006600"/>
                    <a:gd name="connsiteY0" fmla="*/ 1295400 h 1295400"/>
                    <a:gd name="connsiteX1" fmla="*/ 2006600 w 2006600"/>
                    <a:gd name="connsiteY1" fmla="*/ 800100 h 1295400"/>
                    <a:gd name="connsiteX2" fmla="*/ 0 w 2006600"/>
                    <a:gd name="connsiteY2" fmla="*/ 800100 h 1295400"/>
                    <a:gd name="connsiteX3" fmla="*/ 0 w 2006600"/>
                    <a:gd name="connsiteY3" fmla="*/ 0 h 12954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006600" h="1295400">
                      <a:moveTo>
                        <a:pt x="2006600" y="1295400"/>
                      </a:moveTo>
                      <a:lnTo>
                        <a:pt x="2006600" y="800100"/>
                      </a:lnTo>
                      <a:lnTo>
                        <a:pt x="0" y="80010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5875" cap="rnd" cmpd="sng" algn="ctr">
                  <a:solidFill>
                    <a:srgbClr val="FFFFFF"/>
                  </a:solidFill>
                  <a:prstDash val="sysDot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69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Next" panose="020B0503020202020204" pitchFamily="34" charset="0"/>
                    <a:ea typeface="+mn-ea"/>
                    <a:cs typeface="CiscoSansTT" panose="020B0503020201020303" pitchFamily="34" charset="0"/>
                    <a:sym typeface="Arial"/>
                  </a:endParaRPr>
                </a:p>
              </p:txBody>
            </p:sp>
            <p:pic>
              <p:nvPicPr>
                <p:cNvPr id="92" name="Picture 91">
                  <a:extLst>
                    <a:ext uri="{FF2B5EF4-FFF2-40B4-BE49-F238E27FC236}">
                      <a16:creationId xmlns:a16="http://schemas.microsoft.com/office/drawing/2014/main" id="{7E03152B-252E-CA60-95A7-EE7BDA65A5B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021920" y="3503945"/>
                  <a:ext cx="318134" cy="318756"/>
                </a:xfrm>
                <a:prstGeom prst="ellipse">
                  <a:avLst/>
                </a:prstGeom>
                <a:ln w="6350">
                  <a:solidFill>
                    <a:srgbClr val="FFFFFF">
                      <a:alpha val="50000"/>
                    </a:srgbClr>
                  </a:solidFill>
                </a:ln>
              </p:spPr>
            </p:pic>
          </p:grp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7B4351DD-F64C-6C5C-283E-51515E956E76}"/>
                  </a:ext>
                </a:extLst>
              </p:cNvPr>
              <p:cNvGrpSpPr/>
              <p:nvPr/>
            </p:nvGrpSpPr>
            <p:grpSpPr>
              <a:xfrm>
                <a:off x="1017005" y="4908448"/>
                <a:ext cx="5538850" cy="875114"/>
                <a:chOff x="2181312" y="4036807"/>
                <a:chExt cx="4568517" cy="721805"/>
              </a:xfrm>
            </p:grpSpPr>
            <p:pic>
              <p:nvPicPr>
                <p:cNvPr id="82" name="Picture 81">
                  <a:extLst>
                    <a:ext uri="{FF2B5EF4-FFF2-40B4-BE49-F238E27FC236}">
                      <a16:creationId xmlns:a16="http://schemas.microsoft.com/office/drawing/2014/main" id="{5131AEB3-892F-1520-5A4F-9E3B93EBE72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490876" y="4036807"/>
                  <a:ext cx="468775" cy="468775"/>
                </a:xfrm>
                <a:prstGeom prst="rect">
                  <a:avLst/>
                </a:prstGeom>
              </p:spPr>
            </p:pic>
            <p:pic>
              <p:nvPicPr>
                <p:cNvPr id="83" name="Picture 82">
                  <a:extLst>
                    <a:ext uri="{FF2B5EF4-FFF2-40B4-BE49-F238E27FC236}">
                      <a16:creationId xmlns:a16="http://schemas.microsoft.com/office/drawing/2014/main" id="{0D914B54-D5D3-F03F-1FDE-4A0FADDDA25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25758" y="4040835"/>
                  <a:ext cx="468775" cy="475878"/>
                </a:xfrm>
                <a:prstGeom prst="rect">
                  <a:avLst/>
                </a:prstGeom>
              </p:spPr>
            </p:pic>
            <p:pic>
              <p:nvPicPr>
                <p:cNvPr id="84" name="Picture 83">
                  <a:extLst>
                    <a:ext uri="{FF2B5EF4-FFF2-40B4-BE49-F238E27FC236}">
                      <a16:creationId xmlns:a16="http://schemas.microsoft.com/office/drawing/2014/main" id="{8E43EF20-712B-5BD4-238D-484EB31C386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873498" y="4036807"/>
                  <a:ext cx="468775" cy="468775"/>
                </a:xfrm>
                <a:prstGeom prst="rect">
                  <a:avLst/>
                </a:prstGeom>
              </p:spPr>
            </p:pic>
            <p:pic>
              <p:nvPicPr>
                <p:cNvPr id="85" name="Picture 84">
                  <a:extLst>
                    <a:ext uri="{FF2B5EF4-FFF2-40B4-BE49-F238E27FC236}">
                      <a16:creationId xmlns:a16="http://schemas.microsoft.com/office/drawing/2014/main" id="{D1D5CF5F-2094-ABB2-E9F5-C5F0904159D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54438" y="4040836"/>
                  <a:ext cx="475878" cy="475878"/>
                </a:xfrm>
                <a:prstGeom prst="rect">
                  <a:avLst/>
                </a:prstGeom>
              </p:spPr>
            </p:pic>
            <p:sp>
              <p:nvSpPr>
                <p:cNvPr id="86" name="TextBox 85">
                  <a:extLst>
                    <a:ext uri="{FF2B5EF4-FFF2-40B4-BE49-F238E27FC236}">
                      <a16:creationId xmlns:a16="http://schemas.microsoft.com/office/drawing/2014/main" id="{B8D374C6-4929-1935-6253-E8247107038E}"/>
                    </a:ext>
                  </a:extLst>
                </p:cNvPr>
                <p:cNvSpPr txBox="1"/>
                <p:nvPr/>
              </p:nvSpPr>
              <p:spPr>
                <a:xfrm>
                  <a:off x="2181312" y="4514850"/>
                  <a:ext cx="697692" cy="24376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4569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en-US" sz="7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" panose="020B0503020202020204" pitchFamily="34" charset="0"/>
                      <a:ea typeface="+mn-ea"/>
                      <a:cs typeface="CiscoSansTT" panose="020B0503020201020303" pitchFamily="34" charset="0"/>
                      <a:sym typeface="Arial"/>
                    </a:rPr>
                    <a:t>CAMPUS</a:t>
                  </a:r>
                </a:p>
              </p:txBody>
            </p:sp>
            <p:sp>
              <p:nvSpPr>
                <p:cNvPr id="87" name="TextBox 86">
                  <a:extLst>
                    <a:ext uri="{FF2B5EF4-FFF2-40B4-BE49-F238E27FC236}">
                      <a16:creationId xmlns:a16="http://schemas.microsoft.com/office/drawing/2014/main" id="{EA20CC8C-8421-889C-4142-A4B948679B64}"/>
                    </a:ext>
                  </a:extLst>
                </p:cNvPr>
                <p:cNvSpPr txBox="1"/>
                <p:nvPr/>
              </p:nvSpPr>
              <p:spPr>
                <a:xfrm>
                  <a:off x="3344111" y="4514849"/>
                  <a:ext cx="684019" cy="24376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4569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en-US" sz="7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" panose="020B0503020202020204" pitchFamily="34" charset="0"/>
                      <a:ea typeface="+mn-ea"/>
                      <a:cs typeface="CiscoSansTT" panose="020B0503020201020303" pitchFamily="34" charset="0"/>
                      <a:sym typeface="Arial"/>
                    </a:rPr>
                    <a:t>BRANCH</a:t>
                  </a:r>
                </a:p>
              </p:txBody>
            </p:sp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512E2AA5-F0DF-14E4-6829-44C036806C7C}"/>
                    </a:ext>
                  </a:extLst>
                </p:cNvPr>
                <p:cNvSpPr txBox="1"/>
                <p:nvPr/>
              </p:nvSpPr>
              <p:spPr>
                <a:xfrm>
                  <a:off x="4586602" y="4514849"/>
                  <a:ext cx="980909" cy="24376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4569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en-US" sz="7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" panose="020B0503020202020204" pitchFamily="34" charset="0"/>
                      <a:ea typeface="+mn-ea"/>
                      <a:cs typeface="CiscoSansTT" panose="020B0503020201020303" pitchFamily="34" charset="0"/>
                      <a:sym typeface="Arial"/>
                    </a:rPr>
                    <a:t>DATA CENTER</a:t>
                  </a:r>
                </a:p>
              </p:txBody>
            </p:sp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E03B8EFC-55AB-BA8F-A312-31D78EA8C0B1}"/>
                    </a:ext>
                  </a:extLst>
                </p:cNvPr>
                <p:cNvSpPr txBox="1"/>
                <p:nvPr/>
              </p:nvSpPr>
              <p:spPr>
                <a:xfrm>
                  <a:off x="6227929" y="4514849"/>
                  <a:ext cx="521900" cy="24376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4569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en-US" sz="7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" panose="020B0503020202020204" pitchFamily="34" charset="0"/>
                      <a:ea typeface="+mn-ea"/>
                      <a:cs typeface="CiscoSansTT" panose="020B0503020201020303" pitchFamily="34" charset="0"/>
                      <a:sym typeface="Arial"/>
                    </a:rPr>
                    <a:t>EDGE</a:t>
                  </a:r>
                </a:p>
              </p:txBody>
            </p: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ADEF84BA-3A0A-041E-9FAA-52ED5AA694AB}"/>
                  </a:ext>
                </a:extLst>
              </p:cNvPr>
              <p:cNvGrpSpPr/>
              <p:nvPr/>
            </p:nvGrpSpPr>
            <p:grpSpPr>
              <a:xfrm>
                <a:off x="1335054" y="1615143"/>
                <a:ext cx="5441477" cy="3260861"/>
                <a:chOff x="2632841" y="1657350"/>
                <a:chExt cx="4082171" cy="2446283"/>
              </a:xfrm>
            </p:grpSpPr>
            <p:sp>
              <p:nvSpPr>
                <p:cNvPr id="44" name="Rounded Rectangle 144">
                  <a:extLst>
                    <a:ext uri="{FF2B5EF4-FFF2-40B4-BE49-F238E27FC236}">
                      <a16:creationId xmlns:a16="http://schemas.microsoft.com/office/drawing/2014/main" id="{36762319-78B9-F707-B23C-50B63E3FD593}"/>
                    </a:ext>
                  </a:extLst>
                </p:cNvPr>
                <p:cNvSpPr/>
                <p:nvPr/>
              </p:nvSpPr>
              <p:spPr>
                <a:xfrm>
                  <a:off x="4495800" y="3867150"/>
                  <a:ext cx="236483" cy="236483"/>
                </a:xfrm>
                <a:prstGeom prst="roundRect">
                  <a:avLst/>
                </a:prstGeom>
                <a:solidFill>
                  <a:srgbClr val="FFFFFF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698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134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Next" panose="020B0503020202020204" pitchFamily="34" charset="0"/>
                    <a:ea typeface="+mn-ea"/>
                    <a:cs typeface="CiscoSansTT" panose="020B0503020201020303" pitchFamily="34" charset="0"/>
                    <a:sym typeface="Arial"/>
                  </a:endParaRPr>
                </a:p>
              </p:txBody>
            </p:sp>
            <p:grpSp>
              <p:nvGrpSpPr>
                <p:cNvPr id="45" name="Group 44">
                  <a:extLst>
                    <a:ext uri="{FF2B5EF4-FFF2-40B4-BE49-F238E27FC236}">
                      <a16:creationId xmlns:a16="http://schemas.microsoft.com/office/drawing/2014/main" id="{AAA5F42E-34E0-E45D-13D0-2BC6EC2ED558}"/>
                    </a:ext>
                  </a:extLst>
                </p:cNvPr>
                <p:cNvGrpSpPr/>
                <p:nvPr/>
              </p:nvGrpSpPr>
              <p:grpSpPr>
                <a:xfrm>
                  <a:off x="4491265" y="3840389"/>
                  <a:ext cx="229960" cy="245836"/>
                  <a:chOff x="4491265" y="3840389"/>
                  <a:chExt cx="229960" cy="245836"/>
                </a:xfrm>
              </p:grpSpPr>
              <p:pic>
                <p:nvPicPr>
                  <p:cNvPr id="80" name="Picture 79">
                    <a:extLst>
                      <a:ext uri="{FF2B5EF4-FFF2-40B4-BE49-F238E27FC236}">
                        <a16:creationId xmlns:a16="http://schemas.microsoft.com/office/drawing/2014/main" id="{ABADD128-28D2-368D-3B91-9B9479A59A3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9" cstate="hq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 b="-8805"/>
                  <a:stretch/>
                </p:blipFill>
                <p:spPr>
                  <a:xfrm>
                    <a:off x="4491265" y="3840389"/>
                    <a:ext cx="195036" cy="156936"/>
                  </a:xfrm>
                  <a:prstGeom prst="rect">
                    <a:avLst/>
                  </a:prstGeom>
                </p:spPr>
              </p:pic>
              <p:pic>
                <p:nvPicPr>
                  <p:cNvPr id="81" name="Picture 80">
                    <a:extLst>
                      <a:ext uri="{FF2B5EF4-FFF2-40B4-BE49-F238E27FC236}">
                        <a16:creationId xmlns:a16="http://schemas.microsoft.com/office/drawing/2014/main" id="{C1A5BCC2-0C65-CE23-8C14-655831C9718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10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4508500" y="3990975"/>
                    <a:ext cx="212725" cy="95250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46" name="Group 45">
                  <a:extLst>
                    <a:ext uri="{FF2B5EF4-FFF2-40B4-BE49-F238E27FC236}">
                      <a16:creationId xmlns:a16="http://schemas.microsoft.com/office/drawing/2014/main" id="{740BBF1E-4CB1-BFA1-43D5-24C86F6D50A0}"/>
                    </a:ext>
                  </a:extLst>
                </p:cNvPr>
                <p:cNvGrpSpPr/>
                <p:nvPr/>
              </p:nvGrpSpPr>
              <p:grpSpPr>
                <a:xfrm>
                  <a:off x="2632841" y="1657350"/>
                  <a:ext cx="4082171" cy="2173671"/>
                  <a:chOff x="2632841" y="1657350"/>
                  <a:chExt cx="4082171" cy="2173671"/>
                </a:xfrm>
              </p:grpSpPr>
              <p:grpSp>
                <p:nvGrpSpPr>
                  <p:cNvPr id="47" name="Group 46">
                    <a:extLst>
                      <a:ext uri="{FF2B5EF4-FFF2-40B4-BE49-F238E27FC236}">
                        <a16:creationId xmlns:a16="http://schemas.microsoft.com/office/drawing/2014/main" id="{AF428DA7-40A6-3DE4-D2A5-2F8FEE9271FA}"/>
                      </a:ext>
                    </a:extLst>
                  </p:cNvPr>
                  <p:cNvGrpSpPr/>
                  <p:nvPr/>
                </p:nvGrpSpPr>
                <p:grpSpPr>
                  <a:xfrm>
                    <a:off x="3145659" y="3221859"/>
                    <a:ext cx="236483" cy="236483"/>
                    <a:chOff x="3145659" y="3221859"/>
                    <a:chExt cx="236483" cy="236483"/>
                  </a:xfrm>
                </p:grpSpPr>
                <p:sp>
                  <p:nvSpPr>
                    <p:cNvPr id="75" name="Rounded Rectangle 175">
                      <a:extLst>
                        <a:ext uri="{FF2B5EF4-FFF2-40B4-BE49-F238E27FC236}">
                          <a16:creationId xmlns:a16="http://schemas.microsoft.com/office/drawing/2014/main" id="{3232A387-9EFB-D210-8802-8EC99F142E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145659" y="3221859"/>
                      <a:ext cx="236483" cy="236483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4569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1349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venir Next" panose="020B0503020202020204" pitchFamily="34" charset="0"/>
                        <a:ea typeface="+mn-ea"/>
                        <a:cs typeface="CiscoSansTT" panose="020B0503020201020303" pitchFamily="34" charset="0"/>
                        <a:sym typeface="Arial"/>
                      </a:endParaRPr>
                    </a:p>
                  </p:txBody>
                </p:sp>
                <p:grpSp>
                  <p:nvGrpSpPr>
                    <p:cNvPr id="76" name="Group 20">
                      <a:extLst>
                        <a:ext uri="{FF2B5EF4-FFF2-40B4-BE49-F238E27FC236}">
                          <a16:creationId xmlns:a16="http://schemas.microsoft.com/office/drawing/2014/main" id="{4AD49460-59C1-8C5E-78CA-317AB32AC751}"/>
                        </a:ext>
                      </a:extLst>
                    </p:cNvPr>
                    <p:cNvGrpSpPr>
                      <a:grpSpLocks noChangeAspect="1"/>
                    </p:cNvGrpSpPr>
                    <p:nvPr/>
                  </p:nvGrpSpPr>
                  <p:grpSpPr bwMode="auto">
                    <a:xfrm>
                      <a:off x="3168652" y="3273425"/>
                      <a:ext cx="189532" cy="146050"/>
                      <a:chOff x="4259" y="2497"/>
                      <a:chExt cx="510" cy="393"/>
                    </a:xfrm>
                  </p:grpSpPr>
                  <p:sp>
                    <p:nvSpPr>
                      <p:cNvPr id="77" name="Freeform 21">
                        <a:extLst>
                          <a:ext uri="{FF2B5EF4-FFF2-40B4-BE49-F238E27FC236}">
                            <a16:creationId xmlns:a16="http://schemas.microsoft.com/office/drawing/2014/main" id="{F3ED9F05-386B-B7DC-14A5-F94244F712E1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259" y="2605"/>
                        <a:ext cx="291" cy="177"/>
                      </a:xfrm>
                      <a:custGeom>
                        <a:avLst/>
                        <a:gdLst>
                          <a:gd name="T0" fmla="*/ 1783 w 2033"/>
                          <a:gd name="T1" fmla="*/ 0 h 1272"/>
                          <a:gd name="T2" fmla="*/ 1533 w 2033"/>
                          <a:gd name="T3" fmla="*/ 250 h 1272"/>
                          <a:gd name="T4" fmla="*/ 1571 w 2033"/>
                          <a:gd name="T5" fmla="*/ 383 h 1272"/>
                          <a:gd name="T6" fmla="*/ 1153 w 2033"/>
                          <a:gd name="T7" fmla="*/ 813 h 1272"/>
                          <a:gd name="T8" fmla="*/ 1017 w 2033"/>
                          <a:gd name="T9" fmla="*/ 772 h 1272"/>
                          <a:gd name="T10" fmla="*/ 869 w 2033"/>
                          <a:gd name="T11" fmla="*/ 820 h 1272"/>
                          <a:gd name="T12" fmla="*/ 455 w 2033"/>
                          <a:gd name="T13" fmla="*/ 393 h 1272"/>
                          <a:gd name="T14" fmla="*/ 500 w 2033"/>
                          <a:gd name="T15" fmla="*/ 250 h 1272"/>
                          <a:gd name="T16" fmla="*/ 250 w 2033"/>
                          <a:gd name="T17" fmla="*/ 0 h 1272"/>
                          <a:gd name="T18" fmla="*/ 0 w 2033"/>
                          <a:gd name="T19" fmla="*/ 250 h 1272"/>
                          <a:gd name="T20" fmla="*/ 250 w 2033"/>
                          <a:gd name="T21" fmla="*/ 500 h 1272"/>
                          <a:gd name="T22" fmla="*/ 375 w 2033"/>
                          <a:gd name="T23" fmla="*/ 467 h 1272"/>
                          <a:gd name="T24" fmla="*/ 797 w 2033"/>
                          <a:gd name="T25" fmla="*/ 903 h 1272"/>
                          <a:gd name="T26" fmla="*/ 767 w 2033"/>
                          <a:gd name="T27" fmla="*/ 1022 h 1272"/>
                          <a:gd name="T28" fmla="*/ 1017 w 2033"/>
                          <a:gd name="T29" fmla="*/ 1272 h 1272"/>
                          <a:gd name="T30" fmla="*/ 1267 w 2033"/>
                          <a:gd name="T31" fmla="*/ 1022 h 1272"/>
                          <a:gd name="T32" fmla="*/ 1229 w 2033"/>
                          <a:gd name="T33" fmla="*/ 891 h 1272"/>
                          <a:gd name="T34" fmla="*/ 1648 w 2033"/>
                          <a:gd name="T35" fmla="*/ 461 h 1272"/>
                          <a:gd name="T36" fmla="*/ 1783 w 2033"/>
                          <a:gd name="T37" fmla="*/ 500 h 1272"/>
                          <a:gd name="T38" fmla="*/ 2033 w 2033"/>
                          <a:gd name="T39" fmla="*/ 250 h 1272"/>
                          <a:gd name="T40" fmla="*/ 1783 w 2033"/>
                          <a:gd name="T41" fmla="*/ 0 h 127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</a:cxnLst>
                        <a:rect l="0" t="0" r="r" b="b"/>
                        <a:pathLst>
                          <a:path w="2033" h="1272">
                            <a:moveTo>
                              <a:pt x="1783" y="0"/>
                            </a:moveTo>
                            <a:cubicBezTo>
                              <a:pt x="1645" y="0"/>
                              <a:pt x="1533" y="112"/>
                              <a:pt x="1533" y="250"/>
                            </a:cubicBezTo>
                            <a:cubicBezTo>
                              <a:pt x="1533" y="299"/>
                              <a:pt x="1547" y="344"/>
                              <a:pt x="1571" y="383"/>
                            </a:cubicBezTo>
                            <a:cubicBezTo>
                              <a:pt x="1153" y="813"/>
                              <a:pt x="1153" y="813"/>
                              <a:pt x="1153" y="813"/>
                            </a:cubicBezTo>
                            <a:cubicBezTo>
                              <a:pt x="1114" y="787"/>
                              <a:pt x="1067" y="772"/>
                              <a:pt x="1017" y="772"/>
                            </a:cubicBezTo>
                            <a:cubicBezTo>
                              <a:pt x="962" y="772"/>
                              <a:pt x="911" y="790"/>
                              <a:pt x="869" y="820"/>
                            </a:cubicBezTo>
                            <a:cubicBezTo>
                              <a:pt x="455" y="393"/>
                              <a:pt x="455" y="393"/>
                              <a:pt x="455" y="393"/>
                            </a:cubicBezTo>
                            <a:cubicBezTo>
                              <a:pt x="484" y="352"/>
                              <a:pt x="500" y="303"/>
                              <a:pt x="500" y="250"/>
                            </a:cubicBezTo>
                            <a:cubicBezTo>
                              <a:pt x="500" y="112"/>
                              <a:pt x="388" y="0"/>
                              <a:pt x="250" y="0"/>
                            </a:cubicBezTo>
                            <a:cubicBezTo>
                              <a:pt x="112" y="0"/>
                              <a:pt x="0" y="112"/>
                              <a:pt x="0" y="250"/>
                            </a:cubicBezTo>
                            <a:cubicBezTo>
                              <a:pt x="0" y="388"/>
                              <a:pt x="112" y="500"/>
                              <a:pt x="250" y="500"/>
                            </a:cubicBezTo>
                            <a:cubicBezTo>
                              <a:pt x="296" y="500"/>
                              <a:pt x="338" y="488"/>
                              <a:pt x="375" y="467"/>
                            </a:cubicBezTo>
                            <a:cubicBezTo>
                              <a:pt x="797" y="903"/>
                              <a:pt x="797" y="903"/>
                              <a:pt x="797" y="903"/>
                            </a:cubicBezTo>
                            <a:cubicBezTo>
                              <a:pt x="778" y="938"/>
                              <a:pt x="767" y="979"/>
                              <a:pt x="767" y="1022"/>
                            </a:cubicBezTo>
                            <a:cubicBezTo>
                              <a:pt x="767" y="1160"/>
                              <a:pt x="879" y="1272"/>
                              <a:pt x="1017" y="1272"/>
                            </a:cubicBezTo>
                            <a:cubicBezTo>
                              <a:pt x="1155" y="1272"/>
                              <a:pt x="1267" y="1160"/>
                              <a:pt x="1267" y="1022"/>
                            </a:cubicBezTo>
                            <a:cubicBezTo>
                              <a:pt x="1267" y="974"/>
                              <a:pt x="1253" y="929"/>
                              <a:pt x="1229" y="891"/>
                            </a:cubicBezTo>
                            <a:cubicBezTo>
                              <a:pt x="1648" y="461"/>
                              <a:pt x="1648" y="461"/>
                              <a:pt x="1648" y="461"/>
                            </a:cubicBezTo>
                            <a:cubicBezTo>
                              <a:pt x="1687" y="485"/>
                              <a:pt x="1733" y="500"/>
                              <a:pt x="1783" y="500"/>
                            </a:cubicBezTo>
                            <a:cubicBezTo>
                              <a:pt x="1921" y="500"/>
                              <a:pt x="2033" y="388"/>
                              <a:pt x="2033" y="250"/>
                            </a:cubicBezTo>
                            <a:cubicBezTo>
                              <a:pt x="2033" y="112"/>
                              <a:pt x="1921" y="0"/>
                              <a:pt x="1783" y="0"/>
                            </a:cubicBezTo>
                            <a:close/>
                          </a:path>
                        </a:pathLst>
                      </a:custGeom>
                      <a:solidFill>
                        <a:srgbClr val="2EBDAB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392" tIns="45696" rIns="91392" bIns="45696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456983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 typeface="Arial"/>
                          <a:buNone/>
                          <a:tabLst/>
                          <a:defRPr/>
                        </a:pPr>
                        <a:endParaRPr kumimoji="0" lang="en-US" sz="1349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venir Next" panose="020B0503020202020204" pitchFamily="34" charset="0"/>
                          <a:ea typeface="+mn-ea"/>
                          <a:cs typeface="CiscoSansTT" panose="020B0503020201020303" pitchFamily="34" charset="0"/>
                          <a:sym typeface="Arial"/>
                        </a:endParaRPr>
                      </a:p>
                    </p:txBody>
                  </p:sp>
                  <p:sp>
                    <p:nvSpPr>
                      <p:cNvPr id="78" name="Freeform 22">
                        <a:extLst>
                          <a:ext uri="{FF2B5EF4-FFF2-40B4-BE49-F238E27FC236}">
                            <a16:creationId xmlns:a16="http://schemas.microsoft.com/office/drawing/2014/main" id="{D7FDB545-A42C-E6E2-81F9-DABE676F14ED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480" y="2605"/>
                        <a:ext cx="289" cy="285"/>
                      </a:xfrm>
                      <a:custGeom>
                        <a:avLst/>
                        <a:gdLst>
                          <a:gd name="T0" fmla="*/ 1770 w 2020"/>
                          <a:gd name="T1" fmla="*/ 0 h 2044"/>
                          <a:gd name="T2" fmla="*/ 1520 w 2020"/>
                          <a:gd name="T3" fmla="*/ 250 h 2044"/>
                          <a:gd name="T4" fmla="*/ 1568 w 2020"/>
                          <a:gd name="T5" fmla="*/ 398 h 2044"/>
                          <a:gd name="T6" fmla="*/ 1152 w 2020"/>
                          <a:gd name="T7" fmla="*/ 821 h 2044"/>
                          <a:gd name="T8" fmla="*/ 1003 w 2020"/>
                          <a:gd name="T9" fmla="*/ 772 h 2044"/>
                          <a:gd name="T10" fmla="*/ 753 w 2020"/>
                          <a:gd name="T11" fmla="*/ 1022 h 2044"/>
                          <a:gd name="T12" fmla="*/ 805 w 2020"/>
                          <a:gd name="T13" fmla="*/ 1174 h 2044"/>
                          <a:gd name="T14" fmla="*/ 394 w 2020"/>
                          <a:gd name="T15" fmla="*/ 1590 h 2044"/>
                          <a:gd name="T16" fmla="*/ 250 w 2020"/>
                          <a:gd name="T17" fmla="*/ 1544 h 2044"/>
                          <a:gd name="T18" fmla="*/ 0 w 2020"/>
                          <a:gd name="T19" fmla="*/ 1794 h 2044"/>
                          <a:gd name="T20" fmla="*/ 250 w 2020"/>
                          <a:gd name="T21" fmla="*/ 2044 h 2044"/>
                          <a:gd name="T22" fmla="*/ 500 w 2020"/>
                          <a:gd name="T23" fmla="*/ 1794 h 2044"/>
                          <a:gd name="T24" fmla="*/ 468 w 2020"/>
                          <a:gd name="T25" fmla="*/ 1671 h 2044"/>
                          <a:gd name="T26" fmla="*/ 889 w 2020"/>
                          <a:gd name="T27" fmla="*/ 1244 h 2044"/>
                          <a:gd name="T28" fmla="*/ 1003 w 2020"/>
                          <a:gd name="T29" fmla="*/ 1272 h 2044"/>
                          <a:gd name="T30" fmla="*/ 1253 w 2020"/>
                          <a:gd name="T31" fmla="*/ 1022 h 2044"/>
                          <a:gd name="T32" fmla="*/ 1224 w 2020"/>
                          <a:gd name="T33" fmla="*/ 904 h 2044"/>
                          <a:gd name="T34" fmla="*/ 1651 w 2020"/>
                          <a:gd name="T35" fmla="*/ 470 h 2044"/>
                          <a:gd name="T36" fmla="*/ 1770 w 2020"/>
                          <a:gd name="T37" fmla="*/ 500 h 2044"/>
                          <a:gd name="T38" fmla="*/ 2020 w 2020"/>
                          <a:gd name="T39" fmla="*/ 250 h 2044"/>
                          <a:gd name="T40" fmla="*/ 1770 w 2020"/>
                          <a:gd name="T41" fmla="*/ 0 h 204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</a:cxnLst>
                        <a:rect l="0" t="0" r="r" b="b"/>
                        <a:pathLst>
                          <a:path w="2020" h="2044">
                            <a:moveTo>
                              <a:pt x="1770" y="0"/>
                            </a:moveTo>
                            <a:cubicBezTo>
                              <a:pt x="1632" y="0"/>
                              <a:pt x="1520" y="112"/>
                              <a:pt x="1520" y="250"/>
                            </a:cubicBezTo>
                            <a:cubicBezTo>
                              <a:pt x="1520" y="305"/>
                              <a:pt x="1538" y="357"/>
                              <a:pt x="1568" y="398"/>
                            </a:cubicBezTo>
                            <a:cubicBezTo>
                              <a:pt x="1152" y="821"/>
                              <a:pt x="1152" y="821"/>
                              <a:pt x="1152" y="821"/>
                            </a:cubicBezTo>
                            <a:cubicBezTo>
                              <a:pt x="1110" y="790"/>
                              <a:pt x="1059" y="772"/>
                              <a:pt x="1003" y="772"/>
                            </a:cubicBezTo>
                            <a:cubicBezTo>
                              <a:pt x="865" y="772"/>
                              <a:pt x="753" y="884"/>
                              <a:pt x="753" y="1022"/>
                            </a:cubicBezTo>
                            <a:cubicBezTo>
                              <a:pt x="753" y="1079"/>
                              <a:pt x="772" y="1132"/>
                              <a:pt x="805" y="1174"/>
                            </a:cubicBezTo>
                            <a:cubicBezTo>
                              <a:pt x="394" y="1590"/>
                              <a:pt x="394" y="1590"/>
                              <a:pt x="394" y="1590"/>
                            </a:cubicBezTo>
                            <a:cubicBezTo>
                              <a:pt x="354" y="1561"/>
                              <a:pt x="304" y="1544"/>
                              <a:pt x="250" y="1544"/>
                            </a:cubicBezTo>
                            <a:cubicBezTo>
                              <a:pt x="112" y="1544"/>
                              <a:pt x="0" y="1656"/>
                              <a:pt x="0" y="1794"/>
                            </a:cubicBezTo>
                            <a:cubicBezTo>
                              <a:pt x="0" y="1932"/>
                              <a:pt x="112" y="2044"/>
                              <a:pt x="250" y="2044"/>
                            </a:cubicBezTo>
                            <a:cubicBezTo>
                              <a:pt x="388" y="2044"/>
                              <a:pt x="500" y="1932"/>
                              <a:pt x="500" y="1794"/>
                            </a:cubicBezTo>
                            <a:cubicBezTo>
                              <a:pt x="500" y="1750"/>
                              <a:pt x="488" y="1708"/>
                              <a:pt x="468" y="1671"/>
                            </a:cubicBezTo>
                            <a:cubicBezTo>
                              <a:pt x="889" y="1244"/>
                              <a:pt x="889" y="1244"/>
                              <a:pt x="889" y="1244"/>
                            </a:cubicBezTo>
                            <a:cubicBezTo>
                              <a:pt x="923" y="1262"/>
                              <a:pt x="962" y="1272"/>
                              <a:pt x="1003" y="1272"/>
                            </a:cubicBezTo>
                            <a:cubicBezTo>
                              <a:pt x="1141" y="1272"/>
                              <a:pt x="1253" y="1160"/>
                              <a:pt x="1253" y="1022"/>
                            </a:cubicBezTo>
                            <a:cubicBezTo>
                              <a:pt x="1253" y="979"/>
                              <a:pt x="1243" y="939"/>
                              <a:pt x="1224" y="904"/>
                            </a:cubicBezTo>
                            <a:cubicBezTo>
                              <a:pt x="1651" y="470"/>
                              <a:pt x="1651" y="470"/>
                              <a:pt x="1651" y="470"/>
                            </a:cubicBezTo>
                            <a:cubicBezTo>
                              <a:pt x="1686" y="489"/>
                              <a:pt x="1727" y="500"/>
                              <a:pt x="1770" y="500"/>
                            </a:cubicBezTo>
                            <a:cubicBezTo>
                              <a:pt x="1908" y="500"/>
                              <a:pt x="2020" y="388"/>
                              <a:pt x="2020" y="250"/>
                            </a:cubicBezTo>
                            <a:cubicBezTo>
                              <a:pt x="2020" y="112"/>
                              <a:pt x="1908" y="0"/>
                              <a:pt x="1770" y="0"/>
                            </a:cubicBezTo>
                            <a:close/>
                          </a:path>
                        </a:pathLst>
                      </a:custGeom>
                      <a:solidFill>
                        <a:srgbClr val="00BCEB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392" tIns="45696" rIns="91392" bIns="45696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456983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 typeface="Arial"/>
                          <a:buNone/>
                          <a:tabLst/>
                          <a:defRPr/>
                        </a:pPr>
                        <a:endParaRPr kumimoji="0" lang="en-US" sz="1349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venir Next" panose="020B0503020202020204" pitchFamily="34" charset="0"/>
                          <a:ea typeface="+mn-ea"/>
                          <a:cs typeface="CiscoSansTT" panose="020B0503020201020303" pitchFamily="34" charset="0"/>
                          <a:sym typeface="Arial"/>
                        </a:endParaRPr>
                      </a:p>
                    </p:txBody>
                  </p:sp>
                  <p:sp>
                    <p:nvSpPr>
                      <p:cNvPr id="79" name="Freeform 23">
                        <a:extLst>
                          <a:ext uri="{FF2B5EF4-FFF2-40B4-BE49-F238E27FC236}">
                            <a16:creationId xmlns:a16="http://schemas.microsoft.com/office/drawing/2014/main" id="{35A5B085-55B9-A5A0-F215-5A4A5CAAF8DD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369" y="2497"/>
                        <a:ext cx="290" cy="285"/>
                      </a:xfrm>
                      <a:custGeom>
                        <a:avLst/>
                        <a:gdLst>
                          <a:gd name="T0" fmla="*/ 1782 w 2032"/>
                          <a:gd name="T1" fmla="*/ 772 h 2044"/>
                          <a:gd name="T2" fmla="*/ 1662 w 2032"/>
                          <a:gd name="T3" fmla="*/ 803 h 2044"/>
                          <a:gd name="T4" fmla="*/ 1244 w 2032"/>
                          <a:gd name="T5" fmla="*/ 377 h 2044"/>
                          <a:gd name="T6" fmla="*/ 1279 w 2032"/>
                          <a:gd name="T7" fmla="*/ 250 h 2044"/>
                          <a:gd name="T8" fmla="*/ 1029 w 2032"/>
                          <a:gd name="T9" fmla="*/ 0 h 2044"/>
                          <a:gd name="T10" fmla="*/ 779 w 2032"/>
                          <a:gd name="T11" fmla="*/ 250 h 2044"/>
                          <a:gd name="T12" fmla="*/ 817 w 2032"/>
                          <a:gd name="T13" fmla="*/ 383 h 2044"/>
                          <a:gd name="T14" fmla="*/ 383 w 2032"/>
                          <a:gd name="T15" fmla="*/ 810 h 2044"/>
                          <a:gd name="T16" fmla="*/ 250 w 2032"/>
                          <a:gd name="T17" fmla="*/ 772 h 2044"/>
                          <a:gd name="T18" fmla="*/ 0 w 2032"/>
                          <a:gd name="T19" fmla="*/ 1022 h 2044"/>
                          <a:gd name="T20" fmla="*/ 250 w 2032"/>
                          <a:gd name="T21" fmla="*/ 1272 h 2044"/>
                          <a:gd name="T22" fmla="*/ 500 w 2032"/>
                          <a:gd name="T23" fmla="*/ 1022 h 2044"/>
                          <a:gd name="T24" fmla="*/ 460 w 2032"/>
                          <a:gd name="T25" fmla="*/ 888 h 2044"/>
                          <a:gd name="T26" fmla="*/ 894 w 2032"/>
                          <a:gd name="T27" fmla="*/ 460 h 2044"/>
                          <a:gd name="T28" fmla="*/ 1029 w 2032"/>
                          <a:gd name="T29" fmla="*/ 500 h 2044"/>
                          <a:gd name="T30" fmla="*/ 1169 w 2032"/>
                          <a:gd name="T31" fmla="*/ 457 h 2044"/>
                          <a:gd name="T32" fmla="*/ 1580 w 2032"/>
                          <a:gd name="T33" fmla="*/ 875 h 2044"/>
                          <a:gd name="T34" fmla="*/ 1532 w 2032"/>
                          <a:gd name="T35" fmla="*/ 1022 h 2044"/>
                          <a:gd name="T36" fmla="*/ 1570 w 2032"/>
                          <a:gd name="T37" fmla="*/ 1154 h 2044"/>
                          <a:gd name="T38" fmla="*/ 1148 w 2032"/>
                          <a:gd name="T39" fmla="*/ 1581 h 2044"/>
                          <a:gd name="T40" fmla="*/ 1016 w 2032"/>
                          <a:gd name="T41" fmla="*/ 1544 h 2044"/>
                          <a:gd name="T42" fmla="*/ 766 w 2032"/>
                          <a:gd name="T43" fmla="*/ 1794 h 2044"/>
                          <a:gd name="T44" fmla="*/ 1016 w 2032"/>
                          <a:gd name="T45" fmla="*/ 2044 h 2044"/>
                          <a:gd name="T46" fmla="*/ 1266 w 2032"/>
                          <a:gd name="T47" fmla="*/ 1794 h 2044"/>
                          <a:gd name="T48" fmla="*/ 1226 w 2032"/>
                          <a:gd name="T49" fmla="*/ 1658 h 2044"/>
                          <a:gd name="T50" fmla="*/ 1647 w 2032"/>
                          <a:gd name="T51" fmla="*/ 1232 h 2044"/>
                          <a:gd name="T52" fmla="*/ 1782 w 2032"/>
                          <a:gd name="T53" fmla="*/ 1272 h 2044"/>
                          <a:gd name="T54" fmla="*/ 2032 w 2032"/>
                          <a:gd name="T55" fmla="*/ 1022 h 2044"/>
                          <a:gd name="T56" fmla="*/ 1782 w 2032"/>
                          <a:gd name="T57" fmla="*/ 772 h 204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</a:cxnLst>
                        <a:rect l="0" t="0" r="r" b="b"/>
                        <a:pathLst>
                          <a:path w="2032" h="2044">
                            <a:moveTo>
                              <a:pt x="1782" y="772"/>
                            </a:moveTo>
                            <a:cubicBezTo>
                              <a:pt x="1739" y="772"/>
                              <a:pt x="1698" y="783"/>
                              <a:pt x="1662" y="803"/>
                            </a:cubicBezTo>
                            <a:cubicBezTo>
                              <a:pt x="1244" y="377"/>
                              <a:pt x="1244" y="377"/>
                              <a:pt x="1244" y="377"/>
                            </a:cubicBezTo>
                            <a:cubicBezTo>
                              <a:pt x="1266" y="340"/>
                              <a:pt x="1279" y="296"/>
                              <a:pt x="1279" y="250"/>
                            </a:cubicBezTo>
                            <a:cubicBezTo>
                              <a:pt x="1279" y="112"/>
                              <a:pt x="1167" y="0"/>
                              <a:pt x="1029" y="0"/>
                            </a:cubicBezTo>
                            <a:cubicBezTo>
                              <a:pt x="891" y="0"/>
                              <a:pt x="779" y="112"/>
                              <a:pt x="779" y="250"/>
                            </a:cubicBezTo>
                            <a:cubicBezTo>
                              <a:pt x="779" y="299"/>
                              <a:pt x="793" y="344"/>
                              <a:pt x="817" y="383"/>
                            </a:cubicBezTo>
                            <a:cubicBezTo>
                              <a:pt x="383" y="810"/>
                              <a:pt x="383" y="810"/>
                              <a:pt x="383" y="810"/>
                            </a:cubicBezTo>
                            <a:cubicBezTo>
                              <a:pt x="344" y="786"/>
                              <a:pt x="299" y="772"/>
                              <a:pt x="250" y="772"/>
                            </a:cubicBezTo>
                            <a:cubicBezTo>
                              <a:pt x="112" y="772"/>
                              <a:pt x="0" y="884"/>
                              <a:pt x="0" y="1022"/>
                            </a:cubicBezTo>
                            <a:cubicBezTo>
                              <a:pt x="0" y="1160"/>
                              <a:pt x="112" y="1272"/>
                              <a:pt x="250" y="1272"/>
                            </a:cubicBezTo>
                            <a:cubicBezTo>
                              <a:pt x="388" y="1272"/>
                              <a:pt x="500" y="1160"/>
                              <a:pt x="500" y="1022"/>
                            </a:cubicBezTo>
                            <a:cubicBezTo>
                              <a:pt x="500" y="972"/>
                              <a:pt x="485" y="926"/>
                              <a:pt x="460" y="888"/>
                            </a:cubicBezTo>
                            <a:cubicBezTo>
                              <a:pt x="894" y="460"/>
                              <a:pt x="894" y="460"/>
                              <a:pt x="894" y="460"/>
                            </a:cubicBezTo>
                            <a:cubicBezTo>
                              <a:pt x="933" y="485"/>
                              <a:pt x="979" y="500"/>
                              <a:pt x="1029" y="500"/>
                            </a:cubicBezTo>
                            <a:cubicBezTo>
                              <a:pt x="1081" y="500"/>
                              <a:pt x="1129" y="484"/>
                              <a:pt x="1169" y="457"/>
                            </a:cubicBezTo>
                            <a:cubicBezTo>
                              <a:pt x="1580" y="875"/>
                              <a:pt x="1580" y="875"/>
                              <a:pt x="1580" y="875"/>
                            </a:cubicBezTo>
                            <a:cubicBezTo>
                              <a:pt x="1550" y="916"/>
                              <a:pt x="1532" y="967"/>
                              <a:pt x="1532" y="1022"/>
                            </a:cubicBezTo>
                            <a:cubicBezTo>
                              <a:pt x="1532" y="1071"/>
                              <a:pt x="1546" y="1116"/>
                              <a:pt x="1570" y="1154"/>
                            </a:cubicBezTo>
                            <a:cubicBezTo>
                              <a:pt x="1148" y="1581"/>
                              <a:pt x="1148" y="1581"/>
                              <a:pt x="1148" y="1581"/>
                            </a:cubicBezTo>
                            <a:cubicBezTo>
                              <a:pt x="1109" y="1558"/>
                              <a:pt x="1064" y="1544"/>
                              <a:pt x="1016" y="1544"/>
                            </a:cubicBezTo>
                            <a:cubicBezTo>
                              <a:pt x="878" y="1544"/>
                              <a:pt x="766" y="1656"/>
                              <a:pt x="766" y="1794"/>
                            </a:cubicBezTo>
                            <a:cubicBezTo>
                              <a:pt x="766" y="1932"/>
                              <a:pt x="878" y="2044"/>
                              <a:pt x="1016" y="2044"/>
                            </a:cubicBezTo>
                            <a:cubicBezTo>
                              <a:pt x="1154" y="2044"/>
                              <a:pt x="1266" y="1932"/>
                              <a:pt x="1266" y="1794"/>
                            </a:cubicBezTo>
                            <a:cubicBezTo>
                              <a:pt x="1266" y="1744"/>
                              <a:pt x="1251" y="1697"/>
                              <a:pt x="1226" y="1658"/>
                            </a:cubicBezTo>
                            <a:cubicBezTo>
                              <a:pt x="1647" y="1232"/>
                              <a:pt x="1647" y="1232"/>
                              <a:pt x="1647" y="1232"/>
                            </a:cubicBezTo>
                            <a:cubicBezTo>
                              <a:pt x="1686" y="1257"/>
                              <a:pt x="1732" y="1272"/>
                              <a:pt x="1782" y="1272"/>
                            </a:cubicBezTo>
                            <a:cubicBezTo>
                              <a:pt x="1920" y="1272"/>
                              <a:pt x="2032" y="1160"/>
                              <a:pt x="2032" y="1022"/>
                            </a:cubicBezTo>
                            <a:cubicBezTo>
                              <a:pt x="2032" y="884"/>
                              <a:pt x="1920" y="772"/>
                              <a:pt x="1782" y="772"/>
                            </a:cubicBezTo>
                            <a:close/>
                          </a:path>
                        </a:pathLst>
                      </a:custGeom>
                      <a:solidFill>
                        <a:srgbClr val="EF6824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392" tIns="45696" rIns="91392" bIns="45696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marL="0" marR="0" lvl="0" indent="0" algn="l" defTabSz="456983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>
                            <a:srgbClr val="000000"/>
                          </a:buClr>
                          <a:buSzTx/>
                          <a:buFont typeface="Arial"/>
                          <a:buNone/>
                          <a:tabLst/>
                          <a:defRPr/>
                        </a:pPr>
                        <a:endParaRPr kumimoji="0" lang="en-US" sz="1349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venir Next" panose="020B0503020202020204" pitchFamily="34" charset="0"/>
                          <a:ea typeface="+mn-ea"/>
                          <a:cs typeface="CiscoSansTT" panose="020B0503020201020303" pitchFamily="34" charset="0"/>
                          <a:sym typeface="Arial"/>
                        </a:endParaRPr>
                      </a:p>
                    </p:txBody>
                  </p:sp>
                </p:grpSp>
              </p:grpSp>
              <p:grpSp>
                <p:nvGrpSpPr>
                  <p:cNvPr id="48" name="Group 47">
                    <a:extLst>
                      <a:ext uri="{FF2B5EF4-FFF2-40B4-BE49-F238E27FC236}">
                        <a16:creationId xmlns:a16="http://schemas.microsoft.com/office/drawing/2014/main" id="{C077B461-FE38-42BB-10E1-7BB72A672C7A}"/>
                      </a:ext>
                    </a:extLst>
                  </p:cNvPr>
                  <p:cNvGrpSpPr/>
                  <p:nvPr/>
                </p:nvGrpSpPr>
                <p:grpSpPr>
                  <a:xfrm>
                    <a:off x="2632841" y="3594538"/>
                    <a:ext cx="236483" cy="236483"/>
                    <a:chOff x="2632841" y="3594538"/>
                    <a:chExt cx="236483" cy="236483"/>
                  </a:xfrm>
                </p:grpSpPr>
                <p:sp>
                  <p:nvSpPr>
                    <p:cNvPr id="73" name="Rounded Rectangle 173">
                      <a:extLst>
                        <a:ext uri="{FF2B5EF4-FFF2-40B4-BE49-F238E27FC236}">
                          <a16:creationId xmlns:a16="http://schemas.microsoft.com/office/drawing/2014/main" id="{765B9C03-9650-D11D-F9A1-B409614805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632841" y="3594538"/>
                      <a:ext cx="236483" cy="236483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4569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1349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venir Next" panose="020B0503020202020204" pitchFamily="34" charset="0"/>
                        <a:ea typeface="+mn-ea"/>
                        <a:cs typeface="CiscoSansTT" panose="020B0503020201020303" pitchFamily="34" charset="0"/>
                        <a:sym typeface="Arial"/>
                      </a:endParaRPr>
                    </a:p>
                  </p:txBody>
                </p:sp>
                <p:pic>
                  <p:nvPicPr>
                    <p:cNvPr id="74" name="Picture 73">
                      <a:extLst>
                        <a:ext uri="{FF2B5EF4-FFF2-40B4-BE49-F238E27FC236}">
                          <a16:creationId xmlns:a16="http://schemas.microsoft.com/office/drawing/2014/main" id="{83D2872E-1EA7-5910-ECAF-C87D03AD3D3A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1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2667223" y="3627543"/>
                      <a:ext cx="167573" cy="15975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49" name="Group 48">
                    <a:extLst>
                      <a:ext uri="{FF2B5EF4-FFF2-40B4-BE49-F238E27FC236}">
                        <a16:creationId xmlns:a16="http://schemas.microsoft.com/office/drawing/2014/main" id="{EADC8078-2974-5847-C6E3-706C090FF499}"/>
                      </a:ext>
                    </a:extLst>
                  </p:cNvPr>
                  <p:cNvGrpSpPr/>
                  <p:nvPr/>
                </p:nvGrpSpPr>
                <p:grpSpPr>
                  <a:xfrm>
                    <a:off x="3733800" y="2343150"/>
                    <a:ext cx="236483" cy="236483"/>
                    <a:chOff x="3733800" y="2343150"/>
                    <a:chExt cx="236483" cy="236483"/>
                  </a:xfrm>
                </p:grpSpPr>
                <p:sp>
                  <p:nvSpPr>
                    <p:cNvPr id="71" name="Rounded Rectangle 171">
                      <a:extLst>
                        <a:ext uri="{FF2B5EF4-FFF2-40B4-BE49-F238E27FC236}">
                          <a16:creationId xmlns:a16="http://schemas.microsoft.com/office/drawing/2014/main" id="{4621B9F2-369A-3F6D-3C88-3B7B5EFC34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733800" y="2343150"/>
                      <a:ext cx="236483" cy="236483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4569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1349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venir Next" panose="020B0503020202020204" pitchFamily="34" charset="0"/>
                        <a:ea typeface="+mn-ea"/>
                        <a:cs typeface="CiscoSansTT" panose="020B0503020201020303" pitchFamily="34" charset="0"/>
                        <a:sym typeface="Arial"/>
                      </a:endParaRPr>
                    </a:p>
                  </p:txBody>
                </p:sp>
                <p:pic>
                  <p:nvPicPr>
                    <p:cNvPr id="72" name="Picture 71">
                      <a:extLst>
                        <a:ext uri="{FF2B5EF4-FFF2-40B4-BE49-F238E27FC236}">
                          <a16:creationId xmlns:a16="http://schemas.microsoft.com/office/drawing/2014/main" id="{806784A3-B004-F300-8444-AE2F519338D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2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3740438" y="2426435"/>
                      <a:ext cx="209261" cy="78473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0" name="Group 49">
                    <a:extLst>
                      <a:ext uri="{FF2B5EF4-FFF2-40B4-BE49-F238E27FC236}">
                        <a16:creationId xmlns:a16="http://schemas.microsoft.com/office/drawing/2014/main" id="{0A8F5C9B-6303-9698-5EEB-4DC7100B5295}"/>
                      </a:ext>
                    </a:extLst>
                  </p:cNvPr>
                  <p:cNvGrpSpPr/>
                  <p:nvPr/>
                </p:nvGrpSpPr>
                <p:grpSpPr>
                  <a:xfrm>
                    <a:off x="4758558" y="2124673"/>
                    <a:ext cx="236483" cy="236483"/>
                    <a:chOff x="4758558" y="2124673"/>
                    <a:chExt cx="236483" cy="236483"/>
                  </a:xfrm>
                </p:grpSpPr>
                <p:sp>
                  <p:nvSpPr>
                    <p:cNvPr id="69" name="Rounded Rectangle 169">
                      <a:extLst>
                        <a:ext uri="{FF2B5EF4-FFF2-40B4-BE49-F238E27FC236}">
                          <a16:creationId xmlns:a16="http://schemas.microsoft.com/office/drawing/2014/main" id="{9771E630-C030-34C6-2527-910D951107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58558" y="2124673"/>
                      <a:ext cx="236483" cy="236483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4569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1349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venir Next" panose="020B0503020202020204" pitchFamily="34" charset="0"/>
                        <a:ea typeface="+mn-ea"/>
                        <a:cs typeface="CiscoSansTT" panose="020B0503020201020303" pitchFamily="34" charset="0"/>
                        <a:sym typeface="Arial"/>
                      </a:endParaRPr>
                    </a:p>
                  </p:txBody>
                </p:sp>
                <p:pic>
                  <p:nvPicPr>
                    <p:cNvPr id="70" name="Picture 69">
                      <a:extLst>
                        <a:ext uri="{FF2B5EF4-FFF2-40B4-BE49-F238E27FC236}">
                          <a16:creationId xmlns:a16="http://schemas.microsoft.com/office/drawing/2014/main" id="{57367C7E-D098-ABDC-057B-358A56F0323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3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819376" y="2140548"/>
                      <a:ext cx="106245" cy="194251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1" name="Group 50">
                    <a:extLst>
                      <a:ext uri="{FF2B5EF4-FFF2-40B4-BE49-F238E27FC236}">
                        <a16:creationId xmlns:a16="http://schemas.microsoft.com/office/drawing/2014/main" id="{5A267878-EB11-B76D-75C4-1DD34D36F071}"/>
                      </a:ext>
                    </a:extLst>
                  </p:cNvPr>
                  <p:cNvGrpSpPr/>
                  <p:nvPr/>
                </p:nvGrpSpPr>
                <p:grpSpPr>
                  <a:xfrm>
                    <a:off x="4876800" y="1657350"/>
                    <a:ext cx="236483" cy="236483"/>
                    <a:chOff x="4876800" y="1657350"/>
                    <a:chExt cx="236483" cy="236483"/>
                  </a:xfrm>
                </p:grpSpPr>
                <p:sp>
                  <p:nvSpPr>
                    <p:cNvPr id="67" name="Rounded Rectangle 167">
                      <a:extLst>
                        <a:ext uri="{FF2B5EF4-FFF2-40B4-BE49-F238E27FC236}">
                          <a16:creationId xmlns:a16="http://schemas.microsoft.com/office/drawing/2014/main" id="{6A38CD8B-FEF7-BCFC-3CDE-E6461144F9C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876800" y="1657350"/>
                      <a:ext cx="236483" cy="236483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4569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1349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venir Next" panose="020B0503020202020204" pitchFamily="34" charset="0"/>
                        <a:ea typeface="+mn-ea"/>
                        <a:cs typeface="CiscoSansTT" panose="020B0503020201020303" pitchFamily="34" charset="0"/>
                        <a:sym typeface="Arial"/>
                      </a:endParaRPr>
                    </a:p>
                  </p:txBody>
                </p:sp>
                <p:pic>
                  <p:nvPicPr>
                    <p:cNvPr id="68" name="Picture 67">
                      <a:extLst>
                        <a:ext uri="{FF2B5EF4-FFF2-40B4-BE49-F238E27FC236}">
                          <a16:creationId xmlns:a16="http://schemas.microsoft.com/office/drawing/2014/main" id="{FB1CD656-FF72-7F39-0000-E8A7E81CA0B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4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901202" y="1725941"/>
                      <a:ext cx="191498" cy="97358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2" name="Group 51">
                    <a:extLst>
                      <a:ext uri="{FF2B5EF4-FFF2-40B4-BE49-F238E27FC236}">
                        <a16:creationId xmlns:a16="http://schemas.microsoft.com/office/drawing/2014/main" id="{64C15896-146F-7484-000E-33C39735A619}"/>
                      </a:ext>
                    </a:extLst>
                  </p:cNvPr>
                  <p:cNvGrpSpPr/>
                  <p:nvPr/>
                </p:nvGrpSpPr>
                <p:grpSpPr>
                  <a:xfrm>
                    <a:off x="5334000" y="2571750"/>
                    <a:ext cx="236483" cy="236483"/>
                    <a:chOff x="5334000" y="2571750"/>
                    <a:chExt cx="236483" cy="236483"/>
                  </a:xfrm>
                </p:grpSpPr>
                <p:sp>
                  <p:nvSpPr>
                    <p:cNvPr id="65" name="Rounded Rectangle 165">
                      <a:extLst>
                        <a:ext uri="{FF2B5EF4-FFF2-40B4-BE49-F238E27FC236}">
                          <a16:creationId xmlns:a16="http://schemas.microsoft.com/office/drawing/2014/main" id="{46D4E39B-BBC2-CA48-05C6-70429EF82A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34000" y="2571750"/>
                      <a:ext cx="236483" cy="236483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4569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1349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venir Next" panose="020B0503020202020204" pitchFamily="34" charset="0"/>
                        <a:ea typeface="+mn-ea"/>
                        <a:cs typeface="CiscoSansTT" panose="020B0503020201020303" pitchFamily="34" charset="0"/>
                        <a:sym typeface="Arial"/>
                      </a:endParaRPr>
                    </a:p>
                  </p:txBody>
                </p:sp>
                <p:pic>
                  <p:nvPicPr>
                    <p:cNvPr id="66" name="Picture 65">
                      <a:extLst>
                        <a:ext uri="{FF2B5EF4-FFF2-40B4-BE49-F238E27FC236}">
                          <a16:creationId xmlns:a16="http://schemas.microsoft.com/office/drawing/2014/main" id="{D20FF74A-4F76-12DA-A273-E4ADFC419E2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5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354413" y="2629269"/>
                      <a:ext cx="195657" cy="120281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3" name="Group 52">
                    <a:extLst>
                      <a:ext uri="{FF2B5EF4-FFF2-40B4-BE49-F238E27FC236}">
                        <a16:creationId xmlns:a16="http://schemas.microsoft.com/office/drawing/2014/main" id="{3C6938A4-AFA5-CA56-8976-746613E841D8}"/>
                      </a:ext>
                    </a:extLst>
                  </p:cNvPr>
                  <p:cNvGrpSpPr/>
                  <p:nvPr/>
                </p:nvGrpSpPr>
                <p:grpSpPr>
                  <a:xfrm>
                    <a:off x="6319755" y="2879602"/>
                    <a:ext cx="395257" cy="395257"/>
                    <a:chOff x="6319755" y="2879602"/>
                    <a:chExt cx="395257" cy="395257"/>
                  </a:xfrm>
                </p:grpSpPr>
                <p:sp>
                  <p:nvSpPr>
                    <p:cNvPr id="63" name="Rounded Rectangle 163">
                      <a:extLst>
                        <a:ext uri="{FF2B5EF4-FFF2-40B4-BE49-F238E27FC236}">
                          <a16:creationId xmlns:a16="http://schemas.microsoft.com/office/drawing/2014/main" id="{DBD974B6-5113-1DF7-3D8C-7769434CC0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7487" y="2962689"/>
                      <a:ext cx="236483" cy="236483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4569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1349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venir Next" panose="020B0503020202020204" pitchFamily="34" charset="0"/>
                        <a:ea typeface="+mn-ea"/>
                        <a:cs typeface="CiscoSansTT" panose="020B0503020201020303" pitchFamily="34" charset="0"/>
                        <a:sym typeface="Arial"/>
                      </a:endParaRPr>
                    </a:p>
                  </p:txBody>
                </p:sp>
                <p:pic>
                  <p:nvPicPr>
                    <p:cNvPr id="64" name="Picture 63">
                      <a:extLst>
                        <a:ext uri="{FF2B5EF4-FFF2-40B4-BE49-F238E27FC236}">
                          <a16:creationId xmlns:a16="http://schemas.microsoft.com/office/drawing/2014/main" id="{F979BA92-0952-856C-B571-176022A33D1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6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319755" y="2879602"/>
                      <a:ext cx="395257" cy="395257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4" name="Group 53">
                    <a:extLst>
                      <a:ext uri="{FF2B5EF4-FFF2-40B4-BE49-F238E27FC236}">
                        <a16:creationId xmlns:a16="http://schemas.microsoft.com/office/drawing/2014/main" id="{D72ACB26-64D9-AA2F-26DC-953919DB5E45}"/>
                      </a:ext>
                    </a:extLst>
                  </p:cNvPr>
                  <p:cNvGrpSpPr/>
                  <p:nvPr/>
                </p:nvGrpSpPr>
                <p:grpSpPr>
                  <a:xfrm>
                    <a:off x="5907157" y="3225168"/>
                    <a:ext cx="236483" cy="236483"/>
                    <a:chOff x="5907157" y="3225168"/>
                    <a:chExt cx="236483" cy="236483"/>
                  </a:xfrm>
                </p:grpSpPr>
                <p:sp>
                  <p:nvSpPr>
                    <p:cNvPr id="61" name="Rounded Rectangle 161">
                      <a:extLst>
                        <a:ext uri="{FF2B5EF4-FFF2-40B4-BE49-F238E27FC236}">
                          <a16:creationId xmlns:a16="http://schemas.microsoft.com/office/drawing/2014/main" id="{8145580D-5872-633F-124A-8492593A83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07157" y="3225168"/>
                      <a:ext cx="236483" cy="236483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4569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1349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venir Next" panose="020B0503020202020204" pitchFamily="34" charset="0"/>
                        <a:ea typeface="+mn-ea"/>
                        <a:cs typeface="CiscoSansTT" panose="020B0503020201020303" pitchFamily="34" charset="0"/>
                        <a:sym typeface="Arial"/>
                      </a:endParaRPr>
                    </a:p>
                  </p:txBody>
                </p:sp>
                <p:pic>
                  <p:nvPicPr>
                    <p:cNvPr id="62" name="Picture 61">
                      <a:extLst>
                        <a:ext uri="{FF2B5EF4-FFF2-40B4-BE49-F238E27FC236}">
                          <a16:creationId xmlns:a16="http://schemas.microsoft.com/office/drawing/2014/main" id="{788F991E-21BE-6062-63E6-52E304CF334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7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5911849" y="3229860"/>
                      <a:ext cx="227099" cy="227099"/>
                    </a:xfrm>
                    <a:prstGeom prst="rect">
                      <a:avLst/>
                    </a:prstGeom>
                    <a:noFill/>
                  </p:spPr>
                </p:pic>
              </p:grpSp>
              <p:grpSp>
                <p:nvGrpSpPr>
                  <p:cNvPr id="55" name="Group 54">
                    <a:extLst>
                      <a:ext uri="{FF2B5EF4-FFF2-40B4-BE49-F238E27FC236}">
                        <a16:creationId xmlns:a16="http://schemas.microsoft.com/office/drawing/2014/main" id="{D4AD5D35-1FD2-8BFB-999D-3266E1FFA624}"/>
                      </a:ext>
                    </a:extLst>
                  </p:cNvPr>
                  <p:cNvGrpSpPr/>
                  <p:nvPr/>
                </p:nvGrpSpPr>
                <p:grpSpPr>
                  <a:xfrm>
                    <a:off x="6055056" y="2003094"/>
                    <a:ext cx="236483" cy="236483"/>
                    <a:chOff x="6055056" y="2003094"/>
                    <a:chExt cx="236483" cy="236483"/>
                  </a:xfrm>
                </p:grpSpPr>
                <p:sp>
                  <p:nvSpPr>
                    <p:cNvPr id="59" name="Rounded Rectangle 159">
                      <a:extLst>
                        <a:ext uri="{FF2B5EF4-FFF2-40B4-BE49-F238E27FC236}">
                          <a16:creationId xmlns:a16="http://schemas.microsoft.com/office/drawing/2014/main" id="{9E2DC365-A0F3-7BBF-E3C4-70B1FEAAA8A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55056" y="2003094"/>
                      <a:ext cx="236483" cy="236483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4569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1349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venir Next" panose="020B0503020202020204" pitchFamily="34" charset="0"/>
                        <a:ea typeface="+mn-ea"/>
                        <a:cs typeface="CiscoSansTT" panose="020B0503020201020303" pitchFamily="34" charset="0"/>
                        <a:sym typeface="Arial"/>
                      </a:endParaRPr>
                    </a:p>
                  </p:txBody>
                </p:sp>
                <p:pic>
                  <p:nvPicPr>
                    <p:cNvPr id="60" name="Picture 59">
                      <a:extLst>
                        <a:ext uri="{FF2B5EF4-FFF2-40B4-BE49-F238E27FC236}">
                          <a16:creationId xmlns:a16="http://schemas.microsoft.com/office/drawing/2014/main" id="{182F7F16-C95C-B953-6589-1754F448031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8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6077294" y="2024564"/>
                      <a:ext cx="197940" cy="169362"/>
                    </a:xfrm>
                    <a:prstGeom prst="rect">
                      <a:avLst/>
                    </a:prstGeom>
                  </p:spPr>
                </p:pic>
              </p:grpSp>
              <p:grpSp>
                <p:nvGrpSpPr>
                  <p:cNvPr id="56" name="Group 55">
                    <a:extLst>
                      <a:ext uri="{FF2B5EF4-FFF2-40B4-BE49-F238E27FC236}">
                        <a16:creationId xmlns:a16="http://schemas.microsoft.com/office/drawing/2014/main" id="{585A1CEA-6B28-EBD5-6883-5837613FD532}"/>
                      </a:ext>
                    </a:extLst>
                  </p:cNvPr>
                  <p:cNvGrpSpPr/>
                  <p:nvPr/>
                </p:nvGrpSpPr>
                <p:grpSpPr>
                  <a:xfrm>
                    <a:off x="4292868" y="2250399"/>
                    <a:ext cx="236483" cy="236483"/>
                    <a:chOff x="4292868" y="2250399"/>
                    <a:chExt cx="236483" cy="236483"/>
                  </a:xfrm>
                </p:grpSpPr>
                <p:sp>
                  <p:nvSpPr>
                    <p:cNvPr id="57" name="Rounded Rectangle 157">
                      <a:extLst>
                        <a:ext uri="{FF2B5EF4-FFF2-40B4-BE49-F238E27FC236}">
                          <a16:creationId xmlns:a16="http://schemas.microsoft.com/office/drawing/2014/main" id="{FD0FD908-E202-BAF0-F7FA-8EBE4069A78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292868" y="2250399"/>
                      <a:ext cx="236483" cy="236483"/>
                    </a:xfrm>
                    <a:prstGeom prst="roundRect">
                      <a:avLst/>
                    </a:prstGeom>
                    <a:solidFill>
                      <a:srgbClr val="FFFFFF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4569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US" sz="1349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venir Next" panose="020B0503020202020204" pitchFamily="34" charset="0"/>
                        <a:ea typeface="+mn-ea"/>
                        <a:cs typeface="CiscoSansTT" panose="020B0503020201020303" pitchFamily="34" charset="0"/>
                        <a:sym typeface="Arial"/>
                      </a:endParaRPr>
                    </a:p>
                  </p:txBody>
                </p:sp>
                <p:pic>
                  <p:nvPicPr>
                    <p:cNvPr id="58" name="Picture 57">
                      <a:extLst>
                        <a:ext uri="{FF2B5EF4-FFF2-40B4-BE49-F238E27FC236}">
                          <a16:creationId xmlns:a16="http://schemas.microsoft.com/office/drawing/2014/main" id="{284CEEEA-C99F-54B6-BC6A-BAD6BF03B3D1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9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4331004" y="2279267"/>
                      <a:ext cx="155336" cy="174626"/>
                    </a:xfrm>
                    <a:prstGeom prst="rect">
                      <a:avLst/>
                    </a:prstGeom>
                  </p:spPr>
                </p:pic>
              </p:grpSp>
            </p:grp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194986B4-8641-6719-EE60-E29059533B15}"/>
                  </a:ext>
                </a:extLst>
              </p:cNvPr>
              <p:cNvGrpSpPr/>
              <p:nvPr/>
            </p:nvGrpSpPr>
            <p:grpSpPr>
              <a:xfrm>
                <a:off x="904776" y="1320180"/>
                <a:ext cx="5433870" cy="2577737"/>
                <a:chOff x="2310049" y="1436071"/>
                <a:chExt cx="4076464" cy="1933806"/>
              </a:xfrm>
            </p:grpSpPr>
            <p:grpSp>
              <p:nvGrpSpPr>
                <p:cNvPr id="27" name="Group 26">
                  <a:extLst>
                    <a:ext uri="{FF2B5EF4-FFF2-40B4-BE49-F238E27FC236}">
                      <a16:creationId xmlns:a16="http://schemas.microsoft.com/office/drawing/2014/main" id="{73CA9830-E307-A403-7267-5464F3A8AF66}"/>
                    </a:ext>
                  </a:extLst>
                </p:cNvPr>
                <p:cNvGrpSpPr/>
                <p:nvPr/>
              </p:nvGrpSpPr>
              <p:grpSpPr>
                <a:xfrm>
                  <a:off x="2763087" y="1676072"/>
                  <a:ext cx="907290" cy="449434"/>
                  <a:chOff x="2763087" y="1810826"/>
                  <a:chExt cx="907290" cy="449434"/>
                </a:xfrm>
              </p:grpSpPr>
              <p:sp>
                <p:nvSpPr>
                  <p:cNvPr id="42" name="Freeform 142">
                    <a:extLst>
                      <a:ext uri="{FF2B5EF4-FFF2-40B4-BE49-F238E27FC236}">
                        <a16:creationId xmlns:a16="http://schemas.microsoft.com/office/drawing/2014/main" id="{DC8172FF-BDCB-4024-EF8B-77E8D2210E6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763087" y="1810826"/>
                    <a:ext cx="907290" cy="449434"/>
                  </a:xfrm>
                  <a:custGeom>
                    <a:avLst/>
                    <a:gdLst>
                      <a:gd name="connsiteX0" fmla="*/ 501088 w 826646"/>
                      <a:gd name="connsiteY0" fmla="*/ 0 h 409487"/>
                      <a:gd name="connsiteX1" fmla="*/ 602589 w 826646"/>
                      <a:gd name="connsiteY1" fmla="*/ 0 h 409487"/>
                      <a:gd name="connsiteX2" fmla="*/ 693214 w 826646"/>
                      <a:gd name="connsiteY2" fmla="*/ 87137 h 409487"/>
                      <a:gd name="connsiteX3" fmla="*/ 687399 w 826646"/>
                      <a:gd name="connsiteY3" fmla="*/ 116636 h 409487"/>
                      <a:gd name="connsiteX4" fmla="*/ 714831 w 826646"/>
                      <a:gd name="connsiteY4" fmla="*/ 122059 h 409487"/>
                      <a:gd name="connsiteX5" fmla="*/ 769899 w 826646"/>
                      <a:gd name="connsiteY5" fmla="*/ 205792 h 409487"/>
                      <a:gd name="connsiteX6" fmla="*/ 763447 w 826646"/>
                      <a:gd name="connsiteY6" fmla="*/ 236587 h 409487"/>
                      <a:gd name="connsiteX7" fmla="*/ 773111 w 826646"/>
                      <a:gd name="connsiteY7" fmla="*/ 238618 h 409487"/>
                      <a:gd name="connsiteX8" fmla="*/ 826646 w 826646"/>
                      <a:gd name="connsiteY8" fmla="*/ 322350 h 409487"/>
                      <a:gd name="connsiteX9" fmla="*/ 739631 w 826646"/>
                      <a:gd name="connsiteY9" fmla="*/ 409487 h 409487"/>
                      <a:gd name="connsiteX10" fmla="*/ 87015 w 826646"/>
                      <a:gd name="connsiteY10" fmla="*/ 409487 h 409487"/>
                      <a:gd name="connsiteX11" fmla="*/ 0 w 826646"/>
                      <a:gd name="connsiteY11" fmla="*/ 322350 h 409487"/>
                      <a:gd name="connsiteX12" fmla="*/ 87015 w 826646"/>
                      <a:gd name="connsiteY12" fmla="*/ 231583 h 409487"/>
                      <a:gd name="connsiteX13" fmla="*/ 187867 w 826646"/>
                      <a:gd name="connsiteY13" fmla="*/ 231583 h 409487"/>
                      <a:gd name="connsiteX14" fmla="*/ 182506 w 826646"/>
                      <a:gd name="connsiteY14" fmla="*/ 205792 h 409487"/>
                      <a:gd name="connsiteX15" fmla="*/ 269527 w 826646"/>
                      <a:gd name="connsiteY15" fmla="*/ 115025 h 409487"/>
                      <a:gd name="connsiteX16" fmla="*/ 404769 w 826646"/>
                      <a:gd name="connsiteY16" fmla="*/ 115025 h 409487"/>
                      <a:gd name="connsiteX17" fmla="*/ 419542 w 826646"/>
                      <a:gd name="connsiteY17" fmla="*/ 115025 h 409487"/>
                      <a:gd name="connsiteX18" fmla="*/ 414088 w 826646"/>
                      <a:gd name="connsiteY18" fmla="*/ 87137 h 409487"/>
                      <a:gd name="connsiteX19" fmla="*/ 501088 w 826646"/>
                      <a:gd name="connsiteY19" fmla="*/ 0 h 409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6646" h="409487">
                        <a:moveTo>
                          <a:pt x="501088" y="0"/>
                        </a:moveTo>
                        <a:cubicBezTo>
                          <a:pt x="602589" y="0"/>
                          <a:pt x="602589" y="0"/>
                          <a:pt x="602589" y="0"/>
                        </a:cubicBezTo>
                        <a:cubicBezTo>
                          <a:pt x="653339" y="0"/>
                          <a:pt x="693214" y="39938"/>
                          <a:pt x="693214" y="87137"/>
                        </a:cubicBezTo>
                        <a:lnTo>
                          <a:pt x="687399" y="116636"/>
                        </a:lnTo>
                        <a:lnTo>
                          <a:pt x="714831" y="122059"/>
                        </a:lnTo>
                        <a:cubicBezTo>
                          <a:pt x="747464" y="135675"/>
                          <a:pt x="769899" y="167670"/>
                          <a:pt x="769899" y="205792"/>
                        </a:cubicBezTo>
                        <a:lnTo>
                          <a:pt x="763447" y="236587"/>
                        </a:lnTo>
                        <a:lnTo>
                          <a:pt x="773111" y="238618"/>
                        </a:lnTo>
                        <a:cubicBezTo>
                          <a:pt x="804212" y="252233"/>
                          <a:pt x="826646" y="284228"/>
                          <a:pt x="826646" y="322350"/>
                        </a:cubicBezTo>
                        <a:cubicBezTo>
                          <a:pt x="826646" y="369550"/>
                          <a:pt x="786764" y="409487"/>
                          <a:pt x="739631" y="409487"/>
                        </a:cubicBezTo>
                        <a:cubicBezTo>
                          <a:pt x="87015" y="409487"/>
                          <a:pt x="87015" y="409487"/>
                          <a:pt x="87015" y="409487"/>
                        </a:cubicBezTo>
                        <a:cubicBezTo>
                          <a:pt x="39882" y="409487"/>
                          <a:pt x="0" y="369550"/>
                          <a:pt x="0" y="322350"/>
                        </a:cubicBezTo>
                        <a:cubicBezTo>
                          <a:pt x="0" y="271521"/>
                          <a:pt x="39882" y="231583"/>
                          <a:pt x="87015" y="231583"/>
                        </a:cubicBezTo>
                        <a:lnTo>
                          <a:pt x="187867" y="231583"/>
                        </a:lnTo>
                        <a:lnTo>
                          <a:pt x="182506" y="205792"/>
                        </a:lnTo>
                        <a:cubicBezTo>
                          <a:pt x="182506" y="154963"/>
                          <a:pt x="222391" y="115025"/>
                          <a:pt x="269527" y="115025"/>
                        </a:cubicBezTo>
                        <a:cubicBezTo>
                          <a:pt x="320743" y="115025"/>
                          <a:pt x="365557" y="115025"/>
                          <a:pt x="404769" y="115025"/>
                        </a:cubicBezTo>
                        <a:lnTo>
                          <a:pt x="419542" y="115025"/>
                        </a:lnTo>
                        <a:lnTo>
                          <a:pt x="414088" y="87137"/>
                        </a:lnTo>
                        <a:cubicBezTo>
                          <a:pt x="414088" y="39938"/>
                          <a:pt x="453963" y="0"/>
                          <a:pt x="501088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91392" tIns="45696" rIns="91392" bIns="45696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698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en-US" sz="134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" panose="020B0503020202020204" pitchFamily="34" charset="0"/>
                      <a:ea typeface="+mn-ea"/>
                      <a:cs typeface="CiscoSansTT" panose="020B0503020201020303" pitchFamily="34" charset="0"/>
                      <a:sym typeface="Arial"/>
                    </a:endParaRPr>
                  </a:p>
                </p:txBody>
              </p:sp>
              <p:pic>
                <p:nvPicPr>
                  <p:cNvPr id="43" name="Picture 42">
                    <a:extLst>
                      <a:ext uri="{FF2B5EF4-FFF2-40B4-BE49-F238E27FC236}">
                        <a16:creationId xmlns:a16="http://schemas.microsoft.com/office/drawing/2014/main" id="{3CDB4BC6-76D4-EDF1-7B02-BAD52DA8958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0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121572" y="1936667"/>
                    <a:ext cx="407578" cy="268538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28" name="Group 27">
                  <a:extLst>
                    <a:ext uri="{FF2B5EF4-FFF2-40B4-BE49-F238E27FC236}">
                      <a16:creationId xmlns:a16="http://schemas.microsoft.com/office/drawing/2014/main" id="{2EE3B687-DF56-76B7-6EC9-0D44B3DC858F}"/>
                    </a:ext>
                  </a:extLst>
                </p:cNvPr>
                <p:cNvGrpSpPr/>
                <p:nvPr/>
              </p:nvGrpSpPr>
              <p:grpSpPr>
                <a:xfrm>
                  <a:off x="5437479" y="1436071"/>
                  <a:ext cx="907290" cy="449434"/>
                  <a:chOff x="5437479" y="1436071"/>
                  <a:chExt cx="907290" cy="449434"/>
                </a:xfrm>
              </p:grpSpPr>
              <p:sp>
                <p:nvSpPr>
                  <p:cNvPr id="40" name="Freeform 140">
                    <a:extLst>
                      <a:ext uri="{FF2B5EF4-FFF2-40B4-BE49-F238E27FC236}">
                        <a16:creationId xmlns:a16="http://schemas.microsoft.com/office/drawing/2014/main" id="{CDC6BF06-A584-7DD3-5DE3-33F73FC7247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37479" y="1436071"/>
                    <a:ext cx="907290" cy="449434"/>
                  </a:xfrm>
                  <a:custGeom>
                    <a:avLst/>
                    <a:gdLst>
                      <a:gd name="connsiteX0" fmla="*/ 501088 w 826646"/>
                      <a:gd name="connsiteY0" fmla="*/ 0 h 409487"/>
                      <a:gd name="connsiteX1" fmla="*/ 602589 w 826646"/>
                      <a:gd name="connsiteY1" fmla="*/ 0 h 409487"/>
                      <a:gd name="connsiteX2" fmla="*/ 693214 w 826646"/>
                      <a:gd name="connsiteY2" fmla="*/ 87137 h 409487"/>
                      <a:gd name="connsiteX3" fmla="*/ 687399 w 826646"/>
                      <a:gd name="connsiteY3" fmla="*/ 116636 h 409487"/>
                      <a:gd name="connsiteX4" fmla="*/ 714831 w 826646"/>
                      <a:gd name="connsiteY4" fmla="*/ 122059 h 409487"/>
                      <a:gd name="connsiteX5" fmla="*/ 769899 w 826646"/>
                      <a:gd name="connsiteY5" fmla="*/ 205792 h 409487"/>
                      <a:gd name="connsiteX6" fmla="*/ 763447 w 826646"/>
                      <a:gd name="connsiteY6" fmla="*/ 236587 h 409487"/>
                      <a:gd name="connsiteX7" fmla="*/ 773111 w 826646"/>
                      <a:gd name="connsiteY7" fmla="*/ 238618 h 409487"/>
                      <a:gd name="connsiteX8" fmla="*/ 826646 w 826646"/>
                      <a:gd name="connsiteY8" fmla="*/ 322350 h 409487"/>
                      <a:gd name="connsiteX9" fmla="*/ 739631 w 826646"/>
                      <a:gd name="connsiteY9" fmla="*/ 409487 h 409487"/>
                      <a:gd name="connsiteX10" fmla="*/ 87015 w 826646"/>
                      <a:gd name="connsiteY10" fmla="*/ 409487 h 409487"/>
                      <a:gd name="connsiteX11" fmla="*/ 0 w 826646"/>
                      <a:gd name="connsiteY11" fmla="*/ 322350 h 409487"/>
                      <a:gd name="connsiteX12" fmla="*/ 87015 w 826646"/>
                      <a:gd name="connsiteY12" fmla="*/ 231583 h 409487"/>
                      <a:gd name="connsiteX13" fmla="*/ 187867 w 826646"/>
                      <a:gd name="connsiteY13" fmla="*/ 231583 h 409487"/>
                      <a:gd name="connsiteX14" fmla="*/ 182506 w 826646"/>
                      <a:gd name="connsiteY14" fmla="*/ 205792 h 409487"/>
                      <a:gd name="connsiteX15" fmla="*/ 269527 w 826646"/>
                      <a:gd name="connsiteY15" fmla="*/ 115025 h 409487"/>
                      <a:gd name="connsiteX16" fmla="*/ 404769 w 826646"/>
                      <a:gd name="connsiteY16" fmla="*/ 115025 h 409487"/>
                      <a:gd name="connsiteX17" fmla="*/ 419542 w 826646"/>
                      <a:gd name="connsiteY17" fmla="*/ 115025 h 409487"/>
                      <a:gd name="connsiteX18" fmla="*/ 414088 w 826646"/>
                      <a:gd name="connsiteY18" fmla="*/ 87137 h 409487"/>
                      <a:gd name="connsiteX19" fmla="*/ 501088 w 826646"/>
                      <a:gd name="connsiteY19" fmla="*/ 0 h 409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6646" h="409487">
                        <a:moveTo>
                          <a:pt x="501088" y="0"/>
                        </a:moveTo>
                        <a:cubicBezTo>
                          <a:pt x="602589" y="0"/>
                          <a:pt x="602589" y="0"/>
                          <a:pt x="602589" y="0"/>
                        </a:cubicBezTo>
                        <a:cubicBezTo>
                          <a:pt x="653339" y="0"/>
                          <a:pt x="693214" y="39938"/>
                          <a:pt x="693214" y="87137"/>
                        </a:cubicBezTo>
                        <a:lnTo>
                          <a:pt x="687399" y="116636"/>
                        </a:lnTo>
                        <a:lnTo>
                          <a:pt x="714831" y="122059"/>
                        </a:lnTo>
                        <a:cubicBezTo>
                          <a:pt x="747464" y="135675"/>
                          <a:pt x="769899" y="167670"/>
                          <a:pt x="769899" y="205792"/>
                        </a:cubicBezTo>
                        <a:lnTo>
                          <a:pt x="763447" y="236587"/>
                        </a:lnTo>
                        <a:lnTo>
                          <a:pt x="773111" y="238618"/>
                        </a:lnTo>
                        <a:cubicBezTo>
                          <a:pt x="804212" y="252233"/>
                          <a:pt x="826646" y="284228"/>
                          <a:pt x="826646" y="322350"/>
                        </a:cubicBezTo>
                        <a:cubicBezTo>
                          <a:pt x="826646" y="369550"/>
                          <a:pt x="786764" y="409487"/>
                          <a:pt x="739631" y="409487"/>
                        </a:cubicBezTo>
                        <a:cubicBezTo>
                          <a:pt x="87015" y="409487"/>
                          <a:pt x="87015" y="409487"/>
                          <a:pt x="87015" y="409487"/>
                        </a:cubicBezTo>
                        <a:cubicBezTo>
                          <a:pt x="39882" y="409487"/>
                          <a:pt x="0" y="369550"/>
                          <a:pt x="0" y="322350"/>
                        </a:cubicBezTo>
                        <a:cubicBezTo>
                          <a:pt x="0" y="271521"/>
                          <a:pt x="39882" y="231583"/>
                          <a:pt x="87015" y="231583"/>
                        </a:cubicBezTo>
                        <a:lnTo>
                          <a:pt x="187867" y="231583"/>
                        </a:lnTo>
                        <a:lnTo>
                          <a:pt x="182506" y="205792"/>
                        </a:lnTo>
                        <a:cubicBezTo>
                          <a:pt x="182506" y="154963"/>
                          <a:pt x="222391" y="115025"/>
                          <a:pt x="269527" y="115025"/>
                        </a:cubicBezTo>
                        <a:cubicBezTo>
                          <a:pt x="320743" y="115025"/>
                          <a:pt x="365557" y="115025"/>
                          <a:pt x="404769" y="115025"/>
                        </a:cubicBezTo>
                        <a:lnTo>
                          <a:pt x="419542" y="115025"/>
                        </a:lnTo>
                        <a:lnTo>
                          <a:pt x="414088" y="87137"/>
                        </a:lnTo>
                        <a:cubicBezTo>
                          <a:pt x="414088" y="39938"/>
                          <a:pt x="453963" y="0"/>
                          <a:pt x="501088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91392" tIns="45696" rIns="91392" bIns="45696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698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en-US" sz="134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" panose="020B0503020202020204" pitchFamily="34" charset="0"/>
                      <a:ea typeface="+mn-ea"/>
                      <a:cs typeface="CiscoSansTT" panose="020B0503020201020303" pitchFamily="34" charset="0"/>
                      <a:sym typeface="Arial"/>
                    </a:endParaRPr>
                  </a:p>
                </p:txBody>
              </p:sp>
              <p:pic>
                <p:nvPicPr>
                  <p:cNvPr id="41" name="Picture 40">
                    <a:extLst>
                      <a:ext uri="{FF2B5EF4-FFF2-40B4-BE49-F238E27FC236}">
                        <a16:creationId xmlns:a16="http://schemas.microsoft.com/office/drawing/2014/main" id="{AA72F588-2D56-B05C-C2AC-34FD1A7BA00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1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687338" y="1647399"/>
                    <a:ext cx="543414" cy="171461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29" name="Group 28">
                  <a:extLst>
                    <a:ext uri="{FF2B5EF4-FFF2-40B4-BE49-F238E27FC236}">
                      <a16:creationId xmlns:a16="http://schemas.microsoft.com/office/drawing/2014/main" id="{C54B070D-D904-09D5-8CA0-587BEDF0BB23}"/>
                    </a:ext>
                  </a:extLst>
                </p:cNvPr>
                <p:cNvGrpSpPr/>
                <p:nvPr/>
              </p:nvGrpSpPr>
              <p:grpSpPr>
                <a:xfrm>
                  <a:off x="4567874" y="2916803"/>
                  <a:ext cx="937281" cy="453074"/>
                  <a:chOff x="4498300" y="2946620"/>
                  <a:chExt cx="937281" cy="453074"/>
                </a:xfrm>
              </p:grpSpPr>
              <p:sp>
                <p:nvSpPr>
                  <p:cNvPr id="38" name="Freeform 138">
                    <a:extLst>
                      <a:ext uri="{FF2B5EF4-FFF2-40B4-BE49-F238E27FC236}">
                        <a16:creationId xmlns:a16="http://schemas.microsoft.com/office/drawing/2014/main" id="{85335655-9FE8-12CF-5BC7-A76BE34E42E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498300" y="2946620"/>
                    <a:ext cx="907290" cy="449434"/>
                  </a:xfrm>
                  <a:custGeom>
                    <a:avLst/>
                    <a:gdLst>
                      <a:gd name="connsiteX0" fmla="*/ 501088 w 826646"/>
                      <a:gd name="connsiteY0" fmla="*/ 0 h 409487"/>
                      <a:gd name="connsiteX1" fmla="*/ 602589 w 826646"/>
                      <a:gd name="connsiteY1" fmla="*/ 0 h 409487"/>
                      <a:gd name="connsiteX2" fmla="*/ 693214 w 826646"/>
                      <a:gd name="connsiteY2" fmla="*/ 87137 h 409487"/>
                      <a:gd name="connsiteX3" fmla="*/ 687399 w 826646"/>
                      <a:gd name="connsiteY3" fmla="*/ 116636 h 409487"/>
                      <a:gd name="connsiteX4" fmla="*/ 714831 w 826646"/>
                      <a:gd name="connsiteY4" fmla="*/ 122059 h 409487"/>
                      <a:gd name="connsiteX5" fmla="*/ 769899 w 826646"/>
                      <a:gd name="connsiteY5" fmla="*/ 205792 h 409487"/>
                      <a:gd name="connsiteX6" fmla="*/ 763447 w 826646"/>
                      <a:gd name="connsiteY6" fmla="*/ 236587 h 409487"/>
                      <a:gd name="connsiteX7" fmla="*/ 773111 w 826646"/>
                      <a:gd name="connsiteY7" fmla="*/ 238618 h 409487"/>
                      <a:gd name="connsiteX8" fmla="*/ 826646 w 826646"/>
                      <a:gd name="connsiteY8" fmla="*/ 322350 h 409487"/>
                      <a:gd name="connsiteX9" fmla="*/ 739631 w 826646"/>
                      <a:gd name="connsiteY9" fmla="*/ 409487 h 409487"/>
                      <a:gd name="connsiteX10" fmla="*/ 87015 w 826646"/>
                      <a:gd name="connsiteY10" fmla="*/ 409487 h 409487"/>
                      <a:gd name="connsiteX11" fmla="*/ 0 w 826646"/>
                      <a:gd name="connsiteY11" fmla="*/ 322350 h 409487"/>
                      <a:gd name="connsiteX12" fmla="*/ 87015 w 826646"/>
                      <a:gd name="connsiteY12" fmla="*/ 231583 h 409487"/>
                      <a:gd name="connsiteX13" fmla="*/ 187867 w 826646"/>
                      <a:gd name="connsiteY13" fmla="*/ 231583 h 409487"/>
                      <a:gd name="connsiteX14" fmla="*/ 182506 w 826646"/>
                      <a:gd name="connsiteY14" fmla="*/ 205792 h 409487"/>
                      <a:gd name="connsiteX15" fmla="*/ 269527 w 826646"/>
                      <a:gd name="connsiteY15" fmla="*/ 115025 h 409487"/>
                      <a:gd name="connsiteX16" fmla="*/ 404769 w 826646"/>
                      <a:gd name="connsiteY16" fmla="*/ 115025 h 409487"/>
                      <a:gd name="connsiteX17" fmla="*/ 419542 w 826646"/>
                      <a:gd name="connsiteY17" fmla="*/ 115025 h 409487"/>
                      <a:gd name="connsiteX18" fmla="*/ 414088 w 826646"/>
                      <a:gd name="connsiteY18" fmla="*/ 87137 h 409487"/>
                      <a:gd name="connsiteX19" fmla="*/ 501088 w 826646"/>
                      <a:gd name="connsiteY19" fmla="*/ 0 h 409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6646" h="409487">
                        <a:moveTo>
                          <a:pt x="501088" y="0"/>
                        </a:moveTo>
                        <a:cubicBezTo>
                          <a:pt x="602589" y="0"/>
                          <a:pt x="602589" y="0"/>
                          <a:pt x="602589" y="0"/>
                        </a:cubicBezTo>
                        <a:cubicBezTo>
                          <a:pt x="653339" y="0"/>
                          <a:pt x="693214" y="39938"/>
                          <a:pt x="693214" y="87137"/>
                        </a:cubicBezTo>
                        <a:lnTo>
                          <a:pt x="687399" y="116636"/>
                        </a:lnTo>
                        <a:lnTo>
                          <a:pt x="714831" y="122059"/>
                        </a:lnTo>
                        <a:cubicBezTo>
                          <a:pt x="747464" y="135675"/>
                          <a:pt x="769899" y="167670"/>
                          <a:pt x="769899" y="205792"/>
                        </a:cubicBezTo>
                        <a:lnTo>
                          <a:pt x="763447" y="236587"/>
                        </a:lnTo>
                        <a:lnTo>
                          <a:pt x="773111" y="238618"/>
                        </a:lnTo>
                        <a:cubicBezTo>
                          <a:pt x="804212" y="252233"/>
                          <a:pt x="826646" y="284228"/>
                          <a:pt x="826646" y="322350"/>
                        </a:cubicBezTo>
                        <a:cubicBezTo>
                          <a:pt x="826646" y="369550"/>
                          <a:pt x="786764" y="409487"/>
                          <a:pt x="739631" y="409487"/>
                        </a:cubicBezTo>
                        <a:cubicBezTo>
                          <a:pt x="87015" y="409487"/>
                          <a:pt x="87015" y="409487"/>
                          <a:pt x="87015" y="409487"/>
                        </a:cubicBezTo>
                        <a:cubicBezTo>
                          <a:pt x="39882" y="409487"/>
                          <a:pt x="0" y="369550"/>
                          <a:pt x="0" y="322350"/>
                        </a:cubicBezTo>
                        <a:cubicBezTo>
                          <a:pt x="0" y="271521"/>
                          <a:pt x="39882" y="231583"/>
                          <a:pt x="87015" y="231583"/>
                        </a:cubicBezTo>
                        <a:lnTo>
                          <a:pt x="187867" y="231583"/>
                        </a:lnTo>
                        <a:lnTo>
                          <a:pt x="182506" y="205792"/>
                        </a:lnTo>
                        <a:cubicBezTo>
                          <a:pt x="182506" y="154963"/>
                          <a:pt x="222391" y="115025"/>
                          <a:pt x="269527" y="115025"/>
                        </a:cubicBezTo>
                        <a:cubicBezTo>
                          <a:pt x="320743" y="115025"/>
                          <a:pt x="365557" y="115025"/>
                          <a:pt x="404769" y="115025"/>
                        </a:cubicBezTo>
                        <a:lnTo>
                          <a:pt x="419542" y="115025"/>
                        </a:lnTo>
                        <a:lnTo>
                          <a:pt x="414088" y="87137"/>
                        </a:lnTo>
                        <a:cubicBezTo>
                          <a:pt x="414088" y="39938"/>
                          <a:pt x="453963" y="0"/>
                          <a:pt x="501088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91392" tIns="45696" rIns="91392" bIns="45696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698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en-US" sz="134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" panose="020B0503020202020204" pitchFamily="34" charset="0"/>
                      <a:ea typeface="+mn-ea"/>
                      <a:cs typeface="CiscoSansTT" panose="020B0503020201020303" pitchFamily="34" charset="0"/>
                      <a:sym typeface="Arial"/>
                    </a:endParaRPr>
                  </a:p>
                </p:txBody>
              </p:sp>
              <p:pic>
                <p:nvPicPr>
                  <p:cNvPr id="39" name="Picture 38">
                    <a:extLst>
                      <a:ext uri="{FF2B5EF4-FFF2-40B4-BE49-F238E27FC236}">
                        <a16:creationId xmlns:a16="http://schemas.microsoft.com/office/drawing/2014/main" id="{CC776BA2-FC2A-A626-3AD6-74E62F6CD17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2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683459" y="2977252"/>
                    <a:ext cx="752122" cy="422442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30" name="Group 29">
                  <a:extLst>
                    <a:ext uri="{FF2B5EF4-FFF2-40B4-BE49-F238E27FC236}">
                      <a16:creationId xmlns:a16="http://schemas.microsoft.com/office/drawing/2014/main" id="{F4469D25-F8AD-2FA3-B383-BE41BC31D138}"/>
                    </a:ext>
                  </a:extLst>
                </p:cNvPr>
                <p:cNvGrpSpPr/>
                <p:nvPr/>
              </p:nvGrpSpPr>
              <p:grpSpPr>
                <a:xfrm>
                  <a:off x="5586310" y="2773018"/>
                  <a:ext cx="800203" cy="362017"/>
                  <a:chOff x="5586310" y="2773018"/>
                  <a:chExt cx="800203" cy="362017"/>
                </a:xfrm>
              </p:grpSpPr>
              <p:sp>
                <p:nvSpPr>
                  <p:cNvPr id="34" name="Rounded Rectangle 134">
                    <a:extLst>
                      <a:ext uri="{FF2B5EF4-FFF2-40B4-BE49-F238E27FC236}">
                        <a16:creationId xmlns:a16="http://schemas.microsoft.com/office/drawing/2014/main" id="{CDF454D7-495E-8283-7A7C-947C34746665}"/>
                      </a:ext>
                    </a:extLst>
                  </p:cNvPr>
                  <p:cNvSpPr/>
                  <p:nvPr/>
                </p:nvSpPr>
                <p:spPr>
                  <a:xfrm>
                    <a:off x="5605670" y="2773018"/>
                    <a:ext cx="725556" cy="318052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1A4B71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45698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en-US" sz="134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" panose="020B0503020202020204" pitchFamily="34" charset="0"/>
                      <a:ea typeface="+mn-ea"/>
                      <a:cs typeface="CiscoSansTT" panose="020B0503020201020303" pitchFamily="34" charset="0"/>
                      <a:sym typeface="Arial"/>
                    </a:endParaRPr>
                  </a:p>
                </p:txBody>
              </p:sp>
              <p:pic>
                <p:nvPicPr>
                  <p:cNvPr id="35" name="Picture 34">
                    <a:extLst>
                      <a:ext uri="{FF2B5EF4-FFF2-40B4-BE49-F238E27FC236}">
                        <a16:creationId xmlns:a16="http://schemas.microsoft.com/office/drawing/2014/main" id="{31FA2931-0B34-CC33-85A8-B621D00380A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3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671378" y="2821712"/>
                    <a:ext cx="272222" cy="152710"/>
                  </a:xfrm>
                  <a:prstGeom prst="rect">
                    <a:avLst/>
                  </a:prstGeom>
                </p:spPr>
              </p:pic>
              <p:pic>
                <p:nvPicPr>
                  <p:cNvPr id="36" name="Picture 35">
                    <a:extLst>
                      <a:ext uri="{FF2B5EF4-FFF2-40B4-BE49-F238E27FC236}">
                        <a16:creationId xmlns:a16="http://schemas.microsoft.com/office/drawing/2014/main" id="{82297737-99F4-DE03-A13D-CECEBC0403A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3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999922" y="2821712"/>
                    <a:ext cx="272222" cy="152710"/>
                  </a:xfrm>
                  <a:prstGeom prst="rect">
                    <a:avLst/>
                  </a:prstGeom>
                </p:spPr>
              </p:pic>
              <p:sp>
                <p:nvSpPr>
                  <p:cNvPr id="37" name="TextBox 36">
                    <a:extLst>
                      <a:ext uri="{FF2B5EF4-FFF2-40B4-BE49-F238E27FC236}">
                        <a16:creationId xmlns:a16="http://schemas.microsoft.com/office/drawing/2014/main" id="{9A6405AF-AF2F-F389-D790-31347EB2817A}"/>
                      </a:ext>
                    </a:extLst>
                  </p:cNvPr>
                  <p:cNvSpPr txBox="1"/>
                  <p:nvPr/>
                </p:nvSpPr>
                <p:spPr>
                  <a:xfrm>
                    <a:off x="5586310" y="2947435"/>
                    <a:ext cx="800203" cy="187600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ctr" defTabSz="45694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r>
                      <a:rPr kumimoji="0" lang="en-US" sz="5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venir Next" panose="020B0503020202020204" pitchFamily="34" charset="0"/>
                        <a:ea typeface="CiscoSansTT Light" charset="0"/>
                        <a:cs typeface="CiscoSansTT" panose="020B0503020201020303" pitchFamily="34" charset="0"/>
                        <a:sym typeface="Arial"/>
                      </a:rPr>
                      <a:t>COLOCATION</a:t>
                    </a:r>
                  </a:p>
                </p:txBody>
              </p:sp>
            </p:grpSp>
            <p:grpSp>
              <p:nvGrpSpPr>
                <p:cNvPr id="31" name="Group 30">
                  <a:extLst>
                    <a:ext uri="{FF2B5EF4-FFF2-40B4-BE49-F238E27FC236}">
                      <a16:creationId xmlns:a16="http://schemas.microsoft.com/office/drawing/2014/main" id="{99ED7845-D2C0-057E-C174-AE635DEB72C6}"/>
                    </a:ext>
                  </a:extLst>
                </p:cNvPr>
                <p:cNvGrpSpPr/>
                <p:nvPr/>
              </p:nvGrpSpPr>
              <p:grpSpPr>
                <a:xfrm>
                  <a:off x="2310049" y="2511915"/>
                  <a:ext cx="907290" cy="449434"/>
                  <a:chOff x="2396677" y="2588917"/>
                  <a:chExt cx="907290" cy="449434"/>
                </a:xfrm>
              </p:grpSpPr>
              <p:sp>
                <p:nvSpPr>
                  <p:cNvPr id="32" name="Freeform 132">
                    <a:extLst>
                      <a:ext uri="{FF2B5EF4-FFF2-40B4-BE49-F238E27FC236}">
                        <a16:creationId xmlns:a16="http://schemas.microsoft.com/office/drawing/2014/main" id="{D643902D-8ADA-910E-D225-267D8D65555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96677" y="2588917"/>
                    <a:ext cx="907290" cy="449434"/>
                  </a:xfrm>
                  <a:custGeom>
                    <a:avLst/>
                    <a:gdLst>
                      <a:gd name="connsiteX0" fmla="*/ 501088 w 826646"/>
                      <a:gd name="connsiteY0" fmla="*/ 0 h 409487"/>
                      <a:gd name="connsiteX1" fmla="*/ 602589 w 826646"/>
                      <a:gd name="connsiteY1" fmla="*/ 0 h 409487"/>
                      <a:gd name="connsiteX2" fmla="*/ 693214 w 826646"/>
                      <a:gd name="connsiteY2" fmla="*/ 87137 h 409487"/>
                      <a:gd name="connsiteX3" fmla="*/ 687399 w 826646"/>
                      <a:gd name="connsiteY3" fmla="*/ 116636 h 409487"/>
                      <a:gd name="connsiteX4" fmla="*/ 714831 w 826646"/>
                      <a:gd name="connsiteY4" fmla="*/ 122059 h 409487"/>
                      <a:gd name="connsiteX5" fmla="*/ 769899 w 826646"/>
                      <a:gd name="connsiteY5" fmla="*/ 205792 h 409487"/>
                      <a:gd name="connsiteX6" fmla="*/ 763447 w 826646"/>
                      <a:gd name="connsiteY6" fmla="*/ 236587 h 409487"/>
                      <a:gd name="connsiteX7" fmla="*/ 773111 w 826646"/>
                      <a:gd name="connsiteY7" fmla="*/ 238618 h 409487"/>
                      <a:gd name="connsiteX8" fmla="*/ 826646 w 826646"/>
                      <a:gd name="connsiteY8" fmla="*/ 322350 h 409487"/>
                      <a:gd name="connsiteX9" fmla="*/ 739631 w 826646"/>
                      <a:gd name="connsiteY9" fmla="*/ 409487 h 409487"/>
                      <a:gd name="connsiteX10" fmla="*/ 87015 w 826646"/>
                      <a:gd name="connsiteY10" fmla="*/ 409487 h 409487"/>
                      <a:gd name="connsiteX11" fmla="*/ 0 w 826646"/>
                      <a:gd name="connsiteY11" fmla="*/ 322350 h 409487"/>
                      <a:gd name="connsiteX12" fmla="*/ 87015 w 826646"/>
                      <a:gd name="connsiteY12" fmla="*/ 231583 h 409487"/>
                      <a:gd name="connsiteX13" fmla="*/ 187867 w 826646"/>
                      <a:gd name="connsiteY13" fmla="*/ 231583 h 409487"/>
                      <a:gd name="connsiteX14" fmla="*/ 182506 w 826646"/>
                      <a:gd name="connsiteY14" fmla="*/ 205792 h 409487"/>
                      <a:gd name="connsiteX15" fmla="*/ 269527 w 826646"/>
                      <a:gd name="connsiteY15" fmla="*/ 115025 h 409487"/>
                      <a:gd name="connsiteX16" fmla="*/ 404769 w 826646"/>
                      <a:gd name="connsiteY16" fmla="*/ 115025 h 409487"/>
                      <a:gd name="connsiteX17" fmla="*/ 419542 w 826646"/>
                      <a:gd name="connsiteY17" fmla="*/ 115025 h 409487"/>
                      <a:gd name="connsiteX18" fmla="*/ 414088 w 826646"/>
                      <a:gd name="connsiteY18" fmla="*/ 87137 h 409487"/>
                      <a:gd name="connsiteX19" fmla="*/ 501088 w 826646"/>
                      <a:gd name="connsiteY19" fmla="*/ 0 h 409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6646" h="409487">
                        <a:moveTo>
                          <a:pt x="501088" y="0"/>
                        </a:moveTo>
                        <a:cubicBezTo>
                          <a:pt x="602589" y="0"/>
                          <a:pt x="602589" y="0"/>
                          <a:pt x="602589" y="0"/>
                        </a:cubicBezTo>
                        <a:cubicBezTo>
                          <a:pt x="653339" y="0"/>
                          <a:pt x="693214" y="39938"/>
                          <a:pt x="693214" y="87137"/>
                        </a:cubicBezTo>
                        <a:lnTo>
                          <a:pt x="687399" y="116636"/>
                        </a:lnTo>
                        <a:lnTo>
                          <a:pt x="714831" y="122059"/>
                        </a:lnTo>
                        <a:cubicBezTo>
                          <a:pt x="747464" y="135675"/>
                          <a:pt x="769899" y="167670"/>
                          <a:pt x="769899" y="205792"/>
                        </a:cubicBezTo>
                        <a:lnTo>
                          <a:pt x="763447" y="236587"/>
                        </a:lnTo>
                        <a:lnTo>
                          <a:pt x="773111" y="238618"/>
                        </a:lnTo>
                        <a:cubicBezTo>
                          <a:pt x="804212" y="252233"/>
                          <a:pt x="826646" y="284228"/>
                          <a:pt x="826646" y="322350"/>
                        </a:cubicBezTo>
                        <a:cubicBezTo>
                          <a:pt x="826646" y="369550"/>
                          <a:pt x="786764" y="409487"/>
                          <a:pt x="739631" y="409487"/>
                        </a:cubicBezTo>
                        <a:cubicBezTo>
                          <a:pt x="87015" y="409487"/>
                          <a:pt x="87015" y="409487"/>
                          <a:pt x="87015" y="409487"/>
                        </a:cubicBezTo>
                        <a:cubicBezTo>
                          <a:pt x="39882" y="409487"/>
                          <a:pt x="0" y="369550"/>
                          <a:pt x="0" y="322350"/>
                        </a:cubicBezTo>
                        <a:cubicBezTo>
                          <a:pt x="0" y="271521"/>
                          <a:pt x="39882" y="231583"/>
                          <a:pt x="87015" y="231583"/>
                        </a:cubicBezTo>
                        <a:lnTo>
                          <a:pt x="187867" y="231583"/>
                        </a:lnTo>
                        <a:lnTo>
                          <a:pt x="182506" y="205792"/>
                        </a:lnTo>
                        <a:cubicBezTo>
                          <a:pt x="182506" y="154963"/>
                          <a:pt x="222391" y="115025"/>
                          <a:pt x="269527" y="115025"/>
                        </a:cubicBezTo>
                        <a:cubicBezTo>
                          <a:pt x="320743" y="115025"/>
                          <a:pt x="365557" y="115025"/>
                          <a:pt x="404769" y="115025"/>
                        </a:cubicBezTo>
                        <a:lnTo>
                          <a:pt x="419542" y="115025"/>
                        </a:lnTo>
                        <a:lnTo>
                          <a:pt x="414088" y="87137"/>
                        </a:lnTo>
                        <a:cubicBezTo>
                          <a:pt x="414088" y="39938"/>
                          <a:pt x="453963" y="0"/>
                          <a:pt x="501088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91392" tIns="45696" rIns="91392" bIns="45696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456983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en-US" sz="1349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" panose="020B0503020202020204" pitchFamily="34" charset="0"/>
                      <a:ea typeface="+mn-ea"/>
                      <a:cs typeface="CiscoSansTT" panose="020B0503020201020303" pitchFamily="34" charset="0"/>
                      <a:sym typeface="Arial"/>
                    </a:endParaRPr>
                  </a:p>
                </p:txBody>
              </p:sp>
              <p:pic>
                <p:nvPicPr>
                  <p:cNvPr id="33" name="Picture 32">
                    <a:extLst>
                      <a:ext uri="{FF2B5EF4-FFF2-40B4-BE49-F238E27FC236}">
                        <a16:creationId xmlns:a16="http://schemas.microsoft.com/office/drawing/2014/main" id="{7CB63087-0419-8E91-94A5-611BEA41811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4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771035" y="2769660"/>
                    <a:ext cx="342120" cy="204737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A68DE014-D8A3-D71D-464A-38820D768A9C}"/>
                  </a:ext>
                </a:extLst>
              </p:cNvPr>
              <p:cNvGrpSpPr/>
              <p:nvPr/>
            </p:nvGrpSpPr>
            <p:grpSpPr>
              <a:xfrm>
                <a:off x="2259166" y="3014483"/>
                <a:ext cx="962611" cy="692530"/>
                <a:chOff x="3326104" y="2707130"/>
                <a:chExt cx="722146" cy="519533"/>
              </a:xfrm>
            </p:grpSpPr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CA65D487-BC42-A7A9-78B4-9E19FA26D714}"/>
                    </a:ext>
                  </a:extLst>
                </p:cNvPr>
                <p:cNvSpPr txBox="1"/>
                <p:nvPr/>
              </p:nvSpPr>
              <p:spPr>
                <a:xfrm>
                  <a:off x="3326104" y="3004953"/>
                  <a:ext cx="722146" cy="2217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45694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r>
                    <a:rPr kumimoji="0" lang="en-US" sz="7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" panose="020B0503020202020204" pitchFamily="34" charset="0"/>
                      <a:ea typeface="CiscoSansTT Light" charset="0"/>
                      <a:cs typeface="CiscoSansTT" panose="020B0503020201020303" pitchFamily="34" charset="0"/>
                      <a:sym typeface="Arial"/>
                    </a:rPr>
                    <a:t>SECURITY</a:t>
                  </a:r>
                </a:p>
              </p:txBody>
            </p:sp>
            <p:grpSp>
              <p:nvGrpSpPr>
                <p:cNvPr id="24" name="Group 23">
                  <a:extLst>
                    <a:ext uri="{FF2B5EF4-FFF2-40B4-BE49-F238E27FC236}">
                      <a16:creationId xmlns:a16="http://schemas.microsoft.com/office/drawing/2014/main" id="{41FE70AD-DCB0-6C8B-5B0C-1B2930B616A9}"/>
                    </a:ext>
                  </a:extLst>
                </p:cNvPr>
                <p:cNvGrpSpPr/>
                <p:nvPr/>
              </p:nvGrpSpPr>
              <p:grpSpPr>
                <a:xfrm>
                  <a:off x="3486292" y="2707130"/>
                  <a:ext cx="320187" cy="320256"/>
                  <a:chOff x="15002432" y="3647640"/>
                  <a:chExt cx="1645561" cy="1645920"/>
                </a:xfrm>
              </p:grpSpPr>
              <p:sp>
                <p:nvSpPr>
                  <p:cNvPr id="25" name="Oval 24">
                    <a:extLst>
                      <a:ext uri="{FF2B5EF4-FFF2-40B4-BE49-F238E27FC236}">
                        <a16:creationId xmlns:a16="http://schemas.microsoft.com/office/drawing/2014/main" id="{8C711046-B0D5-5575-353D-52AD142E78F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15002432" y="3647640"/>
                    <a:ext cx="1645561" cy="1645920"/>
                  </a:xfrm>
                  <a:prstGeom prst="ellipse">
                    <a:avLst/>
                  </a:prstGeom>
                  <a:solidFill>
                    <a:srgbClr val="00BCEB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803102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en-US" sz="7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" panose="020B0503020202020204" pitchFamily="34" charset="0"/>
                      <a:ea typeface="+mn-ea"/>
                      <a:cs typeface="CiscoSansTT" panose="020B0503020201020303" pitchFamily="34" charset="0"/>
                      <a:sym typeface="Arial"/>
                    </a:endParaRPr>
                  </a:p>
                </p:txBody>
              </p:sp>
              <p:sp>
                <p:nvSpPr>
                  <p:cNvPr id="26" name="Freeform 65">
                    <a:extLst>
                      <a:ext uri="{FF2B5EF4-FFF2-40B4-BE49-F238E27FC236}">
                        <a16:creationId xmlns:a16="http://schemas.microsoft.com/office/drawing/2014/main" id="{BC10C63E-B2FE-8ED9-E96B-F5D56BFF793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123701" y="3776543"/>
                    <a:ext cx="1403015" cy="1388115"/>
                  </a:xfrm>
                  <a:custGeom>
                    <a:avLst/>
                    <a:gdLst>
                      <a:gd name="connsiteX0" fmla="*/ 204275 w 408940"/>
                      <a:gd name="connsiteY0" fmla="*/ 197276 h 404599"/>
                      <a:gd name="connsiteX1" fmla="*/ 213653 w 408940"/>
                      <a:gd name="connsiteY1" fmla="*/ 210351 h 404599"/>
                      <a:gd name="connsiteX2" fmla="*/ 163009 w 408940"/>
                      <a:gd name="connsiteY2" fmla="*/ 301876 h 404599"/>
                      <a:gd name="connsiteX3" fmla="*/ 78603 w 408940"/>
                      <a:gd name="connsiteY3" fmla="*/ 357912 h 404599"/>
                      <a:gd name="connsiteX4" fmla="*/ 74852 w 408940"/>
                      <a:gd name="connsiteY4" fmla="*/ 357912 h 404599"/>
                      <a:gd name="connsiteX5" fmla="*/ 65473 w 408940"/>
                      <a:gd name="connsiteY5" fmla="*/ 352308 h 404599"/>
                      <a:gd name="connsiteX6" fmla="*/ 69225 w 408940"/>
                      <a:gd name="connsiteY6" fmla="*/ 337366 h 404599"/>
                      <a:gd name="connsiteX7" fmla="*/ 146128 w 408940"/>
                      <a:gd name="connsiteY7" fmla="*/ 286933 h 404599"/>
                      <a:gd name="connsiteX8" fmla="*/ 191145 w 408940"/>
                      <a:gd name="connsiteY8" fmla="*/ 206615 h 404599"/>
                      <a:gd name="connsiteX9" fmla="*/ 204275 w 408940"/>
                      <a:gd name="connsiteY9" fmla="*/ 197276 h 404599"/>
                      <a:gd name="connsiteX10" fmla="*/ 208460 w 408940"/>
                      <a:gd name="connsiteY10" fmla="*/ 145678 h 404599"/>
                      <a:gd name="connsiteX11" fmla="*/ 230499 w 408940"/>
                      <a:gd name="connsiteY11" fmla="*/ 152113 h 404599"/>
                      <a:gd name="connsiteX12" fmla="*/ 260470 w 408940"/>
                      <a:gd name="connsiteY12" fmla="*/ 219504 h 404599"/>
                      <a:gd name="connsiteX13" fmla="*/ 224880 w 408940"/>
                      <a:gd name="connsiteY13" fmla="*/ 301870 h 404599"/>
                      <a:gd name="connsiteX14" fmla="*/ 127475 w 408940"/>
                      <a:gd name="connsiteY14" fmla="*/ 386109 h 404599"/>
                      <a:gd name="connsiteX15" fmla="*/ 123729 w 408940"/>
                      <a:gd name="connsiteY15" fmla="*/ 387981 h 404599"/>
                      <a:gd name="connsiteX16" fmla="*/ 114363 w 408940"/>
                      <a:gd name="connsiteY16" fmla="*/ 382365 h 404599"/>
                      <a:gd name="connsiteX17" fmla="*/ 118109 w 408940"/>
                      <a:gd name="connsiteY17" fmla="*/ 367389 h 404599"/>
                      <a:gd name="connsiteX18" fmla="*/ 206148 w 408940"/>
                      <a:gd name="connsiteY18" fmla="*/ 288767 h 404599"/>
                      <a:gd name="connsiteX19" fmla="*/ 241738 w 408940"/>
                      <a:gd name="connsiteY19" fmla="*/ 212016 h 404599"/>
                      <a:gd name="connsiteX20" fmla="*/ 221134 w 408940"/>
                      <a:gd name="connsiteY20" fmla="*/ 170833 h 404599"/>
                      <a:gd name="connsiteX21" fmla="*/ 172431 w 408940"/>
                      <a:gd name="connsiteY21" fmla="*/ 187680 h 404599"/>
                      <a:gd name="connsiteX22" fmla="*/ 163065 w 408940"/>
                      <a:gd name="connsiteY22" fmla="*/ 206400 h 404599"/>
                      <a:gd name="connsiteX23" fmla="*/ 129348 w 408940"/>
                      <a:gd name="connsiteY23" fmla="*/ 268175 h 404599"/>
                      <a:gd name="connsiteX24" fmla="*/ 45055 w 408940"/>
                      <a:gd name="connsiteY24" fmla="*/ 316846 h 404599"/>
                      <a:gd name="connsiteX25" fmla="*/ 31943 w 408940"/>
                      <a:gd name="connsiteY25" fmla="*/ 309358 h 404599"/>
                      <a:gd name="connsiteX26" fmla="*/ 37563 w 408940"/>
                      <a:gd name="connsiteY26" fmla="*/ 296255 h 404599"/>
                      <a:gd name="connsiteX27" fmla="*/ 112490 w 408940"/>
                      <a:gd name="connsiteY27" fmla="*/ 255071 h 404599"/>
                      <a:gd name="connsiteX28" fmla="*/ 144333 w 408940"/>
                      <a:gd name="connsiteY28" fmla="*/ 197040 h 404599"/>
                      <a:gd name="connsiteX29" fmla="*/ 151826 w 408940"/>
                      <a:gd name="connsiteY29" fmla="*/ 178320 h 404599"/>
                      <a:gd name="connsiteX30" fmla="*/ 208460 w 408940"/>
                      <a:gd name="connsiteY30" fmla="*/ 145678 h 404599"/>
                      <a:gd name="connsiteX31" fmla="*/ 212251 w 408940"/>
                      <a:gd name="connsiteY31" fmla="*/ 97910 h 404599"/>
                      <a:gd name="connsiteX32" fmla="*/ 252651 w 408940"/>
                      <a:gd name="connsiteY32" fmla="*/ 107486 h 404599"/>
                      <a:gd name="connsiteX33" fmla="*/ 303093 w 408940"/>
                      <a:gd name="connsiteY33" fmla="*/ 245765 h 404599"/>
                      <a:gd name="connsiteX34" fmla="*/ 265729 w 408940"/>
                      <a:gd name="connsiteY34" fmla="*/ 324248 h 404599"/>
                      <a:gd name="connsiteX35" fmla="*/ 189131 w 408940"/>
                      <a:gd name="connsiteY35" fmla="*/ 402730 h 404599"/>
                      <a:gd name="connsiteX36" fmla="*/ 183527 w 408940"/>
                      <a:gd name="connsiteY36" fmla="*/ 404599 h 404599"/>
                      <a:gd name="connsiteX37" fmla="*/ 174186 w 408940"/>
                      <a:gd name="connsiteY37" fmla="*/ 400862 h 404599"/>
                      <a:gd name="connsiteX38" fmla="*/ 176054 w 408940"/>
                      <a:gd name="connsiteY38" fmla="*/ 385913 h 404599"/>
                      <a:gd name="connsiteX39" fmla="*/ 248915 w 408940"/>
                      <a:gd name="connsiteY39" fmla="*/ 313036 h 404599"/>
                      <a:gd name="connsiteX40" fmla="*/ 282543 w 408940"/>
                      <a:gd name="connsiteY40" fmla="*/ 238291 h 404599"/>
                      <a:gd name="connsiteX41" fmla="*/ 243310 w 408940"/>
                      <a:gd name="connsiteY41" fmla="*/ 128041 h 404599"/>
                      <a:gd name="connsiteX42" fmla="*/ 127480 w 408940"/>
                      <a:gd name="connsiteY42" fmla="*/ 167283 h 404599"/>
                      <a:gd name="connsiteX43" fmla="*/ 125612 w 408940"/>
                      <a:gd name="connsiteY43" fmla="*/ 172889 h 404599"/>
                      <a:gd name="connsiteX44" fmla="*/ 99456 w 408940"/>
                      <a:gd name="connsiteY44" fmla="*/ 227079 h 404599"/>
                      <a:gd name="connsiteX45" fmla="*/ 20991 w 408940"/>
                      <a:gd name="connsiteY45" fmla="*/ 273795 h 404599"/>
                      <a:gd name="connsiteX46" fmla="*/ 7913 w 408940"/>
                      <a:gd name="connsiteY46" fmla="*/ 266320 h 404599"/>
                      <a:gd name="connsiteX47" fmla="*/ 17254 w 408940"/>
                      <a:gd name="connsiteY47" fmla="*/ 253240 h 404599"/>
                      <a:gd name="connsiteX48" fmla="*/ 82642 w 408940"/>
                      <a:gd name="connsiteY48" fmla="*/ 215867 h 404599"/>
                      <a:gd name="connsiteX49" fmla="*/ 105061 w 408940"/>
                      <a:gd name="connsiteY49" fmla="*/ 167283 h 404599"/>
                      <a:gd name="connsiteX50" fmla="*/ 108797 w 408940"/>
                      <a:gd name="connsiteY50" fmla="*/ 156071 h 404599"/>
                      <a:gd name="connsiteX51" fmla="*/ 170449 w 408940"/>
                      <a:gd name="connsiteY51" fmla="*/ 103749 h 404599"/>
                      <a:gd name="connsiteX52" fmla="*/ 212251 w 408940"/>
                      <a:gd name="connsiteY52" fmla="*/ 97910 h 404599"/>
                      <a:gd name="connsiteX53" fmla="*/ 213623 w 408940"/>
                      <a:gd name="connsiteY53" fmla="*/ 49063 h 404599"/>
                      <a:gd name="connsiteX54" fmla="*/ 273176 w 408940"/>
                      <a:gd name="connsiteY54" fmla="*/ 64501 h 404599"/>
                      <a:gd name="connsiteX55" fmla="*/ 340535 w 408940"/>
                      <a:gd name="connsiteY55" fmla="*/ 283035 h 404599"/>
                      <a:gd name="connsiteX56" fmla="*/ 273176 w 408940"/>
                      <a:gd name="connsiteY56" fmla="*/ 391367 h 404599"/>
                      <a:gd name="connsiteX57" fmla="*/ 263821 w 408940"/>
                      <a:gd name="connsiteY57" fmla="*/ 395103 h 404599"/>
                      <a:gd name="connsiteX58" fmla="*/ 256336 w 408940"/>
                      <a:gd name="connsiteY58" fmla="*/ 393235 h 404599"/>
                      <a:gd name="connsiteX59" fmla="*/ 256336 w 408940"/>
                      <a:gd name="connsiteY59" fmla="*/ 378293 h 404599"/>
                      <a:gd name="connsiteX60" fmla="*/ 319953 w 408940"/>
                      <a:gd name="connsiteY60" fmla="*/ 275563 h 404599"/>
                      <a:gd name="connsiteX61" fmla="*/ 263821 w 408940"/>
                      <a:gd name="connsiteY61" fmla="*/ 83179 h 404599"/>
                      <a:gd name="connsiteX62" fmla="*/ 84198 w 408940"/>
                      <a:gd name="connsiteY62" fmla="*/ 144817 h 404599"/>
                      <a:gd name="connsiteX63" fmla="*/ 76714 w 408940"/>
                      <a:gd name="connsiteY63" fmla="*/ 167231 h 404599"/>
                      <a:gd name="connsiteX64" fmla="*/ 71101 w 408940"/>
                      <a:gd name="connsiteY64" fmla="*/ 180305 h 404599"/>
                      <a:gd name="connsiteX65" fmla="*/ 13097 w 408940"/>
                      <a:gd name="connsiteY65" fmla="*/ 225133 h 404599"/>
                      <a:gd name="connsiteX66" fmla="*/ 0 w 408940"/>
                      <a:gd name="connsiteY66" fmla="*/ 217661 h 404599"/>
                      <a:gd name="connsiteX67" fmla="*/ 9355 w 408940"/>
                      <a:gd name="connsiteY67" fmla="*/ 204587 h 404599"/>
                      <a:gd name="connsiteX68" fmla="*/ 52390 w 408940"/>
                      <a:gd name="connsiteY68" fmla="*/ 172834 h 404599"/>
                      <a:gd name="connsiteX69" fmla="*/ 56132 w 408940"/>
                      <a:gd name="connsiteY69" fmla="*/ 161627 h 404599"/>
                      <a:gd name="connsiteX70" fmla="*/ 65487 w 408940"/>
                      <a:gd name="connsiteY70" fmla="*/ 135478 h 404599"/>
                      <a:gd name="connsiteX71" fmla="*/ 213623 w 408940"/>
                      <a:gd name="connsiteY71" fmla="*/ 49063 h 404599"/>
                      <a:gd name="connsiteX72" fmla="*/ 218823 w 408940"/>
                      <a:gd name="connsiteY72" fmla="*/ 374 h 404599"/>
                      <a:gd name="connsiteX73" fmla="*/ 295880 w 408940"/>
                      <a:gd name="connsiteY73" fmla="*/ 21201 h 404599"/>
                      <a:gd name="connsiteX74" fmla="*/ 398623 w 408940"/>
                      <a:gd name="connsiteY74" fmla="*/ 139144 h 404599"/>
                      <a:gd name="connsiteX75" fmla="*/ 387415 w 408940"/>
                      <a:gd name="connsiteY75" fmla="*/ 294530 h 404599"/>
                      <a:gd name="connsiteX76" fmla="*/ 378075 w 408940"/>
                      <a:gd name="connsiteY76" fmla="*/ 300146 h 404599"/>
                      <a:gd name="connsiteX77" fmla="*/ 374339 w 408940"/>
                      <a:gd name="connsiteY77" fmla="*/ 300146 h 404599"/>
                      <a:gd name="connsiteX78" fmla="*/ 368735 w 408940"/>
                      <a:gd name="connsiteY78" fmla="*/ 285169 h 404599"/>
                      <a:gd name="connsiteX79" fmla="*/ 378075 w 408940"/>
                      <a:gd name="connsiteY79" fmla="*/ 144760 h 404599"/>
                      <a:gd name="connsiteX80" fmla="*/ 286540 w 408940"/>
                      <a:gd name="connsiteY80" fmla="*/ 39922 h 404599"/>
                      <a:gd name="connsiteX81" fmla="*/ 146435 w 408940"/>
                      <a:gd name="connsiteY81" fmla="*/ 30561 h 404599"/>
                      <a:gd name="connsiteX82" fmla="*/ 41824 w 408940"/>
                      <a:gd name="connsiteY82" fmla="*/ 124167 h 404599"/>
                      <a:gd name="connsiteX83" fmla="*/ 28748 w 408940"/>
                      <a:gd name="connsiteY83" fmla="*/ 161609 h 404599"/>
                      <a:gd name="connsiteX84" fmla="*/ 15671 w 408940"/>
                      <a:gd name="connsiteY84" fmla="*/ 169098 h 404599"/>
                      <a:gd name="connsiteX85" fmla="*/ 6331 w 408940"/>
                      <a:gd name="connsiteY85" fmla="*/ 155993 h 404599"/>
                      <a:gd name="connsiteX86" fmla="*/ 23144 w 408940"/>
                      <a:gd name="connsiteY86" fmla="*/ 114807 h 404599"/>
                      <a:gd name="connsiteX87" fmla="*/ 138963 w 408940"/>
                      <a:gd name="connsiteY87" fmla="*/ 11840 h 404599"/>
                      <a:gd name="connsiteX88" fmla="*/ 218823 w 408940"/>
                      <a:gd name="connsiteY88" fmla="*/ 374 h 4045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</a:cxnLst>
                    <a:rect l="l" t="t" r="r" b="b"/>
                    <a:pathLst>
                      <a:path w="408940" h="404599">
                        <a:moveTo>
                          <a:pt x="204275" y="197276"/>
                        </a:moveTo>
                        <a:cubicBezTo>
                          <a:pt x="209902" y="199144"/>
                          <a:pt x="213653" y="204748"/>
                          <a:pt x="213653" y="210351"/>
                        </a:cubicBezTo>
                        <a:cubicBezTo>
                          <a:pt x="211777" y="212219"/>
                          <a:pt x="202399" y="255180"/>
                          <a:pt x="163009" y="301876"/>
                        </a:cubicBezTo>
                        <a:cubicBezTo>
                          <a:pt x="134874" y="331762"/>
                          <a:pt x="80479" y="356044"/>
                          <a:pt x="78603" y="357912"/>
                        </a:cubicBezTo>
                        <a:cubicBezTo>
                          <a:pt x="76728" y="357912"/>
                          <a:pt x="76728" y="357912"/>
                          <a:pt x="74852" y="357912"/>
                        </a:cubicBezTo>
                        <a:cubicBezTo>
                          <a:pt x="71100" y="357912"/>
                          <a:pt x="67349" y="356044"/>
                          <a:pt x="65473" y="352308"/>
                        </a:cubicBezTo>
                        <a:cubicBezTo>
                          <a:pt x="61722" y="346705"/>
                          <a:pt x="65473" y="339233"/>
                          <a:pt x="69225" y="337366"/>
                        </a:cubicBezTo>
                        <a:cubicBezTo>
                          <a:pt x="71100" y="337366"/>
                          <a:pt x="123620" y="313083"/>
                          <a:pt x="146128" y="286933"/>
                        </a:cubicBezTo>
                        <a:cubicBezTo>
                          <a:pt x="183642" y="245840"/>
                          <a:pt x="191145" y="206615"/>
                          <a:pt x="191145" y="206615"/>
                        </a:cubicBezTo>
                        <a:cubicBezTo>
                          <a:pt x="193020" y="201012"/>
                          <a:pt x="198647" y="197276"/>
                          <a:pt x="204275" y="197276"/>
                        </a:cubicBezTo>
                        <a:close/>
                        <a:moveTo>
                          <a:pt x="208460" y="145678"/>
                        </a:moveTo>
                        <a:cubicBezTo>
                          <a:pt x="215982" y="146263"/>
                          <a:pt x="223475" y="148369"/>
                          <a:pt x="230499" y="152113"/>
                        </a:cubicBezTo>
                        <a:cubicBezTo>
                          <a:pt x="260470" y="165217"/>
                          <a:pt x="269836" y="189552"/>
                          <a:pt x="260470" y="219504"/>
                        </a:cubicBezTo>
                        <a:cubicBezTo>
                          <a:pt x="256724" y="234480"/>
                          <a:pt x="243612" y="271919"/>
                          <a:pt x="224880" y="301870"/>
                        </a:cubicBezTo>
                        <a:cubicBezTo>
                          <a:pt x="191163" y="352414"/>
                          <a:pt x="131221" y="384237"/>
                          <a:pt x="127475" y="386109"/>
                        </a:cubicBezTo>
                        <a:cubicBezTo>
                          <a:pt x="125602" y="387981"/>
                          <a:pt x="125602" y="387981"/>
                          <a:pt x="123729" y="387981"/>
                        </a:cubicBezTo>
                        <a:cubicBezTo>
                          <a:pt x="119982" y="387981"/>
                          <a:pt x="116236" y="386109"/>
                          <a:pt x="114363" y="382365"/>
                        </a:cubicBezTo>
                        <a:cubicBezTo>
                          <a:pt x="110616" y="376749"/>
                          <a:pt x="112490" y="371133"/>
                          <a:pt x="118109" y="367389"/>
                        </a:cubicBezTo>
                        <a:cubicBezTo>
                          <a:pt x="118109" y="367389"/>
                          <a:pt x="176177" y="335566"/>
                          <a:pt x="206148" y="288767"/>
                        </a:cubicBezTo>
                        <a:cubicBezTo>
                          <a:pt x="224880" y="262559"/>
                          <a:pt x="236119" y="226992"/>
                          <a:pt x="241738" y="212016"/>
                        </a:cubicBezTo>
                        <a:cubicBezTo>
                          <a:pt x="247358" y="193296"/>
                          <a:pt x="241738" y="180192"/>
                          <a:pt x="221134" y="170833"/>
                        </a:cubicBezTo>
                        <a:cubicBezTo>
                          <a:pt x="204275" y="161473"/>
                          <a:pt x="181797" y="168961"/>
                          <a:pt x="172431" y="187680"/>
                        </a:cubicBezTo>
                        <a:cubicBezTo>
                          <a:pt x="168685" y="193296"/>
                          <a:pt x="166812" y="198912"/>
                          <a:pt x="163065" y="206400"/>
                        </a:cubicBezTo>
                        <a:cubicBezTo>
                          <a:pt x="153699" y="225120"/>
                          <a:pt x="144333" y="249455"/>
                          <a:pt x="129348" y="268175"/>
                        </a:cubicBezTo>
                        <a:cubicBezTo>
                          <a:pt x="106870" y="298127"/>
                          <a:pt x="46929" y="316846"/>
                          <a:pt x="45055" y="316846"/>
                        </a:cubicBezTo>
                        <a:cubicBezTo>
                          <a:pt x="39436" y="318718"/>
                          <a:pt x="33816" y="314974"/>
                          <a:pt x="31943" y="309358"/>
                        </a:cubicBezTo>
                        <a:cubicBezTo>
                          <a:pt x="30070" y="303742"/>
                          <a:pt x="31943" y="298127"/>
                          <a:pt x="37563" y="296255"/>
                        </a:cubicBezTo>
                        <a:cubicBezTo>
                          <a:pt x="54421" y="292511"/>
                          <a:pt x="97504" y="275663"/>
                          <a:pt x="112490" y="255071"/>
                        </a:cubicBezTo>
                        <a:cubicBezTo>
                          <a:pt x="125602" y="238223"/>
                          <a:pt x="134968" y="215760"/>
                          <a:pt x="144333" y="197040"/>
                        </a:cubicBezTo>
                        <a:cubicBezTo>
                          <a:pt x="146207" y="189552"/>
                          <a:pt x="149953" y="183936"/>
                          <a:pt x="151826" y="178320"/>
                        </a:cubicBezTo>
                        <a:cubicBezTo>
                          <a:pt x="163066" y="155857"/>
                          <a:pt x="185895" y="143923"/>
                          <a:pt x="208460" y="145678"/>
                        </a:cubicBezTo>
                        <a:close/>
                        <a:moveTo>
                          <a:pt x="212251" y="97910"/>
                        </a:moveTo>
                        <a:cubicBezTo>
                          <a:pt x="226029" y="98610"/>
                          <a:pt x="239574" y="101881"/>
                          <a:pt x="252651" y="107486"/>
                        </a:cubicBezTo>
                        <a:cubicBezTo>
                          <a:pt x="306830" y="135516"/>
                          <a:pt x="323644" y="180363"/>
                          <a:pt x="303093" y="245765"/>
                        </a:cubicBezTo>
                        <a:cubicBezTo>
                          <a:pt x="291884" y="277532"/>
                          <a:pt x="280675" y="303693"/>
                          <a:pt x="265729" y="324248"/>
                        </a:cubicBezTo>
                        <a:cubicBezTo>
                          <a:pt x="237705" y="365358"/>
                          <a:pt x="191000" y="400862"/>
                          <a:pt x="189131" y="402730"/>
                        </a:cubicBezTo>
                        <a:cubicBezTo>
                          <a:pt x="187263" y="404599"/>
                          <a:pt x="185395" y="404599"/>
                          <a:pt x="183527" y="404599"/>
                        </a:cubicBezTo>
                        <a:cubicBezTo>
                          <a:pt x="179790" y="404599"/>
                          <a:pt x="177922" y="404599"/>
                          <a:pt x="174186" y="400862"/>
                        </a:cubicBezTo>
                        <a:cubicBezTo>
                          <a:pt x="170449" y="397125"/>
                          <a:pt x="172317" y="389650"/>
                          <a:pt x="176054" y="385913"/>
                        </a:cubicBezTo>
                        <a:cubicBezTo>
                          <a:pt x="177922" y="385913"/>
                          <a:pt x="222760" y="350409"/>
                          <a:pt x="248915" y="313036"/>
                        </a:cubicBezTo>
                        <a:cubicBezTo>
                          <a:pt x="261992" y="292481"/>
                          <a:pt x="273202" y="268189"/>
                          <a:pt x="282543" y="238291"/>
                        </a:cubicBezTo>
                        <a:cubicBezTo>
                          <a:pt x="301225" y="184100"/>
                          <a:pt x="288148" y="148596"/>
                          <a:pt x="243310" y="128041"/>
                        </a:cubicBezTo>
                        <a:cubicBezTo>
                          <a:pt x="200341" y="105618"/>
                          <a:pt x="151767" y="124304"/>
                          <a:pt x="127480" y="167283"/>
                        </a:cubicBezTo>
                        <a:cubicBezTo>
                          <a:pt x="127480" y="167283"/>
                          <a:pt x="125612" y="171020"/>
                          <a:pt x="125612" y="172889"/>
                        </a:cubicBezTo>
                        <a:cubicBezTo>
                          <a:pt x="120007" y="185969"/>
                          <a:pt x="112534" y="206524"/>
                          <a:pt x="99456" y="227079"/>
                        </a:cubicBezTo>
                        <a:cubicBezTo>
                          <a:pt x="80774" y="258846"/>
                          <a:pt x="24727" y="273795"/>
                          <a:pt x="20991" y="273795"/>
                        </a:cubicBezTo>
                        <a:cubicBezTo>
                          <a:pt x="15386" y="275663"/>
                          <a:pt x="9781" y="271926"/>
                          <a:pt x="7913" y="266320"/>
                        </a:cubicBezTo>
                        <a:cubicBezTo>
                          <a:pt x="7913" y="260714"/>
                          <a:pt x="11649" y="255108"/>
                          <a:pt x="17254" y="253240"/>
                        </a:cubicBezTo>
                        <a:cubicBezTo>
                          <a:pt x="30332" y="249503"/>
                          <a:pt x="69565" y="236422"/>
                          <a:pt x="82642" y="215867"/>
                        </a:cubicBezTo>
                        <a:cubicBezTo>
                          <a:pt x="93852" y="197181"/>
                          <a:pt x="101325" y="178495"/>
                          <a:pt x="105061" y="167283"/>
                        </a:cubicBezTo>
                        <a:cubicBezTo>
                          <a:pt x="106929" y="161677"/>
                          <a:pt x="106929" y="157940"/>
                          <a:pt x="108797" y="156071"/>
                        </a:cubicBezTo>
                        <a:cubicBezTo>
                          <a:pt x="123743" y="131779"/>
                          <a:pt x="144294" y="113092"/>
                          <a:pt x="170449" y="103749"/>
                        </a:cubicBezTo>
                        <a:cubicBezTo>
                          <a:pt x="184461" y="99078"/>
                          <a:pt x="198473" y="97209"/>
                          <a:pt x="212251" y="97910"/>
                        </a:cubicBezTo>
                        <a:close/>
                        <a:moveTo>
                          <a:pt x="213623" y="49063"/>
                        </a:moveTo>
                        <a:cubicBezTo>
                          <a:pt x="233767" y="50142"/>
                          <a:pt x="253998" y="55162"/>
                          <a:pt x="273176" y="64501"/>
                        </a:cubicBezTo>
                        <a:cubicBezTo>
                          <a:pt x="355503" y="103725"/>
                          <a:pt x="379827" y="185909"/>
                          <a:pt x="340535" y="283035"/>
                        </a:cubicBezTo>
                        <a:cubicBezTo>
                          <a:pt x="316211" y="342804"/>
                          <a:pt x="273176" y="389500"/>
                          <a:pt x="273176" y="391367"/>
                        </a:cubicBezTo>
                        <a:cubicBezTo>
                          <a:pt x="269434" y="395103"/>
                          <a:pt x="267563" y="395103"/>
                          <a:pt x="263821" y="395103"/>
                        </a:cubicBezTo>
                        <a:cubicBezTo>
                          <a:pt x="261950" y="395103"/>
                          <a:pt x="260079" y="395103"/>
                          <a:pt x="256336" y="393235"/>
                        </a:cubicBezTo>
                        <a:cubicBezTo>
                          <a:pt x="252594" y="389500"/>
                          <a:pt x="252594" y="382028"/>
                          <a:pt x="256336" y="378293"/>
                        </a:cubicBezTo>
                        <a:cubicBezTo>
                          <a:pt x="256336" y="378293"/>
                          <a:pt x="297500" y="331598"/>
                          <a:pt x="319953" y="275563"/>
                        </a:cubicBezTo>
                        <a:cubicBezTo>
                          <a:pt x="355503" y="187776"/>
                          <a:pt x="334921" y="118668"/>
                          <a:pt x="263821" y="83179"/>
                        </a:cubicBezTo>
                        <a:cubicBezTo>
                          <a:pt x="198333" y="51427"/>
                          <a:pt x="116006" y="77576"/>
                          <a:pt x="84198" y="144817"/>
                        </a:cubicBezTo>
                        <a:cubicBezTo>
                          <a:pt x="80456" y="152288"/>
                          <a:pt x="78585" y="159759"/>
                          <a:pt x="76714" y="167231"/>
                        </a:cubicBezTo>
                        <a:cubicBezTo>
                          <a:pt x="74843" y="170966"/>
                          <a:pt x="72972" y="176570"/>
                          <a:pt x="71101" y="180305"/>
                        </a:cubicBezTo>
                        <a:cubicBezTo>
                          <a:pt x="59874" y="213926"/>
                          <a:pt x="14969" y="225133"/>
                          <a:pt x="13097" y="225133"/>
                        </a:cubicBezTo>
                        <a:cubicBezTo>
                          <a:pt x="7484" y="227000"/>
                          <a:pt x="1871" y="223265"/>
                          <a:pt x="0" y="217661"/>
                        </a:cubicBezTo>
                        <a:cubicBezTo>
                          <a:pt x="0" y="212058"/>
                          <a:pt x="1871" y="206455"/>
                          <a:pt x="9355" y="204587"/>
                        </a:cubicBezTo>
                        <a:cubicBezTo>
                          <a:pt x="9355" y="204587"/>
                          <a:pt x="44906" y="197116"/>
                          <a:pt x="52390" y="172834"/>
                        </a:cubicBezTo>
                        <a:cubicBezTo>
                          <a:pt x="52390" y="169098"/>
                          <a:pt x="54261" y="165363"/>
                          <a:pt x="56132" y="161627"/>
                        </a:cubicBezTo>
                        <a:cubicBezTo>
                          <a:pt x="58003" y="152288"/>
                          <a:pt x="59874" y="144817"/>
                          <a:pt x="65487" y="135478"/>
                        </a:cubicBezTo>
                        <a:cubicBezTo>
                          <a:pt x="93554" y="78043"/>
                          <a:pt x="153194" y="45823"/>
                          <a:pt x="213623" y="49063"/>
                        </a:cubicBezTo>
                        <a:close/>
                        <a:moveTo>
                          <a:pt x="218823" y="374"/>
                        </a:moveTo>
                        <a:cubicBezTo>
                          <a:pt x="245443" y="2012"/>
                          <a:pt x="271596" y="9032"/>
                          <a:pt x="295880" y="21201"/>
                        </a:cubicBezTo>
                        <a:cubicBezTo>
                          <a:pt x="344450" y="45538"/>
                          <a:pt x="379943" y="86725"/>
                          <a:pt x="398623" y="139144"/>
                        </a:cubicBezTo>
                        <a:cubicBezTo>
                          <a:pt x="415436" y="189691"/>
                          <a:pt x="411700" y="245855"/>
                          <a:pt x="387415" y="294530"/>
                        </a:cubicBezTo>
                        <a:cubicBezTo>
                          <a:pt x="385547" y="298274"/>
                          <a:pt x="381811" y="300146"/>
                          <a:pt x="378075" y="300146"/>
                        </a:cubicBezTo>
                        <a:cubicBezTo>
                          <a:pt x="376207" y="300146"/>
                          <a:pt x="374339" y="300146"/>
                          <a:pt x="374339" y="300146"/>
                        </a:cubicBezTo>
                        <a:cubicBezTo>
                          <a:pt x="368735" y="296402"/>
                          <a:pt x="366866" y="290785"/>
                          <a:pt x="368735" y="285169"/>
                        </a:cubicBezTo>
                        <a:cubicBezTo>
                          <a:pt x="391151" y="242110"/>
                          <a:pt x="393019" y="191563"/>
                          <a:pt x="378075" y="144760"/>
                        </a:cubicBezTo>
                        <a:cubicBezTo>
                          <a:pt x="363130" y="99830"/>
                          <a:pt x="329505" y="62387"/>
                          <a:pt x="286540" y="39922"/>
                        </a:cubicBezTo>
                        <a:cubicBezTo>
                          <a:pt x="241706" y="19329"/>
                          <a:pt x="193137" y="15584"/>
                          <a:pt x="146435" y="30561"/>
                        </a:cubicBezTo>
                        <a:cubicBezTo>
                          <a:pt x="99734" y="47410"/>
                          <a:pt x="64241" y="79236"/>
                          <a:pt x="41824" y="124167"/>
                        </a:cubicBezTo>
                        <a:cubicBezTo>
                          <a:pt x="36220" y="135400"/>
                          <a:pt x="30616" y="148505"/>
                          <a:pt x="28748" y="161609"/>
                        </a:cubicBezTo>
                        <a:cubicBezTo>
                          <a:pt x="26880" y="167226"/>
                          <a:pt x="21275" y="170970"/>
                          <a:pt x="15671" y="169098"/>
                        </a:cubicBezTo>
                        <a:cubicBezTo>
                          <a:pt x="10067" y="169098"/>
                          <a:pt x="6331" y="161609"/>
                          <a:pt x="6331" y="155993"/>
                        </a:cubicBezTo>
                        <a:cubicBezTo>
                          <a:pt x="10067" y="142888"/>
                          <a:pt x="15671" y="127911"/>
                          <a:pt x="23144" y="114807"/>
                        </a:cubicBezTo>
                        <a:cubicBezTo>
                          <a:pt x="47428" y="64259"/>
                          <a:pt x="88526" y="28689"/>
                          <a:pt x="138963" y="11840"/>
                        </a:cubicBezTo>
                        <a:cubicBezTo>
                          <a:pt x="165116" y="2480"/>
                          <a:pt x="192203" y="-1265"/>
                          <a:pt x="218823" y="374"/>
                        </a:cubicBezTo>
                        <a:close/>
                      </a:path>
                    </a:pathLst>
                  </a:custGeom>
                  <a:solidFill>
                    <a:srgbClr val="005073">
                      <a:lumMod val="75000"/>
                    </a:srgbClr>
                  </a:solidFill>
                  <a:ln>
                    <a:noFill/>
                  </a:ln>
                </p:spPr>
                <p:txBody>
                  <a:bodyPr vert="horz" wrap="square" lIns="65280" tIns="32640" rIns="65280" bIns="3264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326708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SzTx/>
                      <a:buFont typeface="Arial"/>
                      <a:buNone/>
                      <a:tabLst/>
                      <a:defRPr/>
                    </a:pPr>
                    <a:endParaRPr kumimoji="0" lang="en-US" sz="7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venir Next" panose="020B0503020202020204" pitchFamily="34" charset="0"/>
                      <a:ea typeface="+mn-ea"/>
                      <a:cs typeface="CiscoSansTT" panose="020B0503020201020303" pitchFamily="34" charset="0"/>
                      <a:sym typeface="Arial"/>
                    </a:endParaRPr>
                  </a:p>
                </p:txBody>
              </p:sp>
            </p:grpSp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ACD6125F-CD35-C074-0D80-CF23E9DA2EE3}"/>
                  </a:ext>
                </a:extLst>
              </p:cNvPr>
              <p:cNvGrpSpPr/>
              <p:nvPr/>
            </p:nvGrpSpPr>
            <p:grpSpPr>
              <a:xfrm>
                <a:off x="3404455" y="1765903"/>
                <a:ext cx="501331" cy="501440"/>
                <a:chOff x="15002427" y="601627"/>
                <a:chExt cx="1645561" cy="1645920"/>
              </a:xfrm>
            </p:grpSpPr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CE792414-0693-FF7E-7DAC-BD40593B0AB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15002427" y="601627"/>
                  <a:ext cx="1645561" cy="1645920"/>
                </a:xfrm>
                <a:prstGeom prst="ellipse">
                  <a:avLst/>
                </a:prstGeom>
                <a:solidFill>
                  <a:srgbClr val="00BCEB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80310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7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Next" panose="020B0503020202020204" pitchFamily="34" charset="0"/>
                    <a:ea typeface="+mn-ea"/>
                    <a:cs typeface="CiscoSansTT" panose="020B0503020201020303" pitchFamily="34" charset="0"/>
                    <a:sym typeface="Arial"/>
                  </a:endParaRPr>
                </a:p>
              </p:txBody>
            </p:sp>
            <p:sp>
              <p:nvSpPr>
                <p:cNvPr id="22" name="Freeform 88">
                  <a:extLst>
                    <a:ext uri="{FF2B5EF4-FFF2-40B4-BE49-F238E27FC236}">
                      <a16:creationId xmlns:a16="http://schemas.microsoft.com/office/drawing/2014/main" id="{C3416A74-3630-E831-38CC-61A400996E0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15237496" y="1015859"/>
                  <a:ext cx="1132894" cy="743128"/>
                </a:xfrm>
                <a:custGeom>
                  <a:avLst/>
                  <a:gdLst>
                    <a:gd name="connsiteX0" fmla="*/ 267547 w 483474"/>
                    <a:gd name="connsiteY0" fmla="*/ 95250 h 317139"/>
                    <a:gd name="connsiteX1" fmla="*/ 321129 w 483474"/>
                    <a:gd name="connsiteY1" fmla="*/ 95250 h 317139"/>
                    <a:gd name="connsiteX2" fmla="*/ 368956 w 483474"/>
                    <a:gd name="connsiteY2" fmla="*/ 141432 h 317139"/>
                    <a:gd name="connsiteX3" fmla="*/ 364281 w 483474"/>
                    <a:gd name="connsiteY3" fmla="*/ 162719 h 317139"/>
                    <a:gd name="connsiteX4" fmla="*/ 409232 w 483474"/>
                    <a:gd name="connsiteY4" fmla="*/ 208901 h 317139"/>
                    <a:gd name="connsiteX5" fmla="*/ 409232 w 483474"/>
                    <a:gd name="connsiteY5" fmla="*/ 210344 h 317139"/>
                    <a:gd name="connsiteX6" fmla="*/ 406355 w 483474"/>
                    <a:gd name="connsiteY6" fmla="*/ 226219 h 317139"/>
                    <a:gd name="connsiteX7" fmla="*/ 436203 w 483474"/>
                    <a:gd name="connsiteY7" fmla="*/ 270958 h 317139"/>
                    <a:gd name="connsiteX8" fmla="*/ 390173 w 483474"/>
                    <a:gd name="connsiteY8" fmla="*/ 317139 h 317139"/>
                    <a:gd name="connsiteX9" fmla="*/ 46030 w 483474"/>
                    <a:gd name="connsiteY9" fmla="*/ 317139 h 317139"/>
                    <a:gd name="connsiteX10" fmla="*/ 0 w 483474"/>
                    <a:gd name="connsiteY10" fmla="*/ 270958 h 317139"/>
                    <a:gd name="connsiteX11" fmla="*/ 46030 w 483474"/>
                    <a:gd name="connsiteY11" fmla="*/ 222972 h 317139"/>
                    <a:gd name="connsiteX12" fmla="*/ 96015 w 483474"/>
                    <a:gd name="connsiteY12" fmla="*/ 222972 h 317139"/>
                    <a:gd name="connsiteX13" fmla="*/ 93857 w 483474"/>
                    <a:gd name="connsiteY13" fmla="*/ 210344 h 317139"/>
                    <a:gd name="connsiteX14" fmla="*/ 94577 w 483474"/>
                    <a:gd name="connsiteY14" fmla="*/ 202406 h 317139"/>
                    <a:gd name="connsiteX15" fmla="*/ 140606 w 483474"/>
                    <a:gd name="connsiteY15" fmla="*/ 162358 h 317139"/>
                    <a:gd name="connsiteX16" fmla="*/ 226192 w 483474"/>
                    <a:gd name="connsiteY16" fmla="*/ 162358 h 317139"/>
                    <a:gd name="connsiteX17" fmla="*/ 221518 w 483474"/>
                    <a:gd name="connsiteY17" fmla="*/ 141432 h 317139"/>
                    <a:gd name="connsiteX18" fmla="*/ 267547 w 483474"/>
                    <a:gd name="connsiteY18" fmla="*/ 95250 h 317139"/>
                    <a:gd name="connsiteX19" fmla="*/ 324911 w 483474"/>
                    <a:gd name="connsiteY19" fmla="*/ 0 h 317139"/>
                    <a:gd name="connsiteX20" fmla="*/ 375361 w 483474"/>
                    <a:gd name="connsiteY20" fmla="*/ 0 h 317139"/>
                    <a:gd name="connsiteX21" fmla="*/ 420405 w 483474"/>
                    <a:gd name="connsiteY21" fmla="*/ 43460 h 317139"/>
                    <a:gd name="connsiteX22" fmla="*/ 416081 w 483474"/>
                    <a:gd name="connsiteY22" fmla="*/ 63215 h 317139"/>
                    <a:gd name="connsiteX23" fmla="*/ 458242 w 483474"/>
                    <a:gd name="connsiteY23" fmla="*/ 108112 h 317139"/>
                    <a:gd name="connsiteX24" fmla="*/ 455719 w 483474"/>
                    <a:gd name="connsiteY24" fmla="*/ 122838 h 317139"/>
                    <a:gd name="connsiteX25" fmla="*/ 483466 w 483474"/>
                    <a:gd name="connsiteY25" fmla="*/ 164503 h 317139"/>
                    <a:gd name="connsiteX26" fmla="*/ 440224 w 483474"/>
                    <a:gd name="connsiteY26" fmla="*/ 207604 h 317139"/>
                    <a:gd name="connsiteX27" fmla="*/ 422567 w 483474"/>
                    <a:gd name="connsiteY27" fmla="*/ 207604 h 317139"/>
                    <a:gd name="connsiteX28" fmla="*/ 381487 w 483474"/>
                    <a:gd name="connsiteY28" fmla="*/ 151572 h 317139"/>
                    <a:gd name="connsiteX29" fmla="*/ 382207 w 483474"/>
                    <a:gd name="connsiteY29" fmla="*/ 140438 h 317139"/>
                    <a:gd name="connsiteX30" fmla="*/ 320948 w 483474"/>
                    <a:gd name="connsiteY30" fmla="*/ 81174 h 317139"/>
                    <a:gd name="connsiteX31" fmla="*/ 267255 w 483474"/>
                    <a:gd name="connsiteY31" fmla="*/ 81174 h 317139"/>
                    <a:gd name="connsiteX32" fmla="*/ 207437 w 483474"/>
                    <a:gd name="connsiteY32" fmla="*/ 140438 h 317139"/>
                    <a:gd name="connsiteX33" fmla="*/ 208157 w 483474"/>
                    <a:gd name="connsiteY33" fmla="*/ 147981 h 317139"/>
                    <a:gd name="connsiteX34" fmla="*/ 140051 w 483474"/>
                    <a:gd name="connsiteY34" fmla="*/ 147981 h 317139"/>
                    <a:gd name="connsiteX35" fmla="*/ 82755 w 483474"/>
                    <a:gd name="connsiteY35" fmla="*/ 191082 h 317139"/>
                    <a:gd name="connsiteX36" fmla="*/ 73025 w 483474"/>
                    <a:gd name="connsiteY36" fmla="*/ 164503 h 317139"/>
                    <a:gd name="connsiteX37" fmla="*/ 116267 w 483474"/>
                    <a:gd name="connsiteY37" fmla="*/ 119606 h 317139"/>
                    <a:gd name="connsiteX38" fmla="*/ 163474 w 483474"/>
                    <a:gd name="connsiteY38" fmla="*/ 119606 h 317139"/>
                    <a:gd name="connsiteX39" fmla="*/ 161672 w 483474"/>
                    <a:gd name="connsiteY39" fmla="*/ 108112 h 317139"/>
                    <a:gd name="connsiteX40" fmla="*/ 205635 w 483474"/>
                    <a:gd name="connsiteY40" fmla="*/ 63215 h 317139"/>
                    <a:gd name="connsiteX41" fmla="*/ 285993 w 483474"/>
                    <a:gd name="connsiteY41" fmla="*/ 63215 h 317139"/>
                    <a:gd name="connsiteX42" fmla="*/ 281669 w 483474"/>
                    <a:gd name="connsiteY42" fmla="*/ 43460 h 317139"/>
                    <a:gd name="connsiteX43" fmla="*/ 324911 w 483474"/>
                    <a:gd name="connsiteY43" fmla="*/ 0 h 3171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483474" h="317139">
                      <a:moveTo>
                        <a:pt x="267547" y="95250"/>
                      </a:moveTo>
                      <a:cubicBezTo>
                        <a:pt x="321129" y="95250"/>
                        <a:pt x="321129" y="95250"/>
                        <a:pt x="321129" y="95250"/>
                      </a:cubicBezTo>
                      <a:cubicBezTo>
                        <a:pt x="348099" y="95250"/>
                        <a:pt x="368956" y="116176"/>
                        <a:pt x="368956" y="141432"/>
                      </a:cubicBezTo>
                      <a:cubicBezTo>
                        <a:pt x="368956" y="149009"/>
                        <a:pt x="367158" y="156225"/>
                        <a:pt x="364281" y="162719"/>
                      </a:cubicBezTo>
                      <a:cubicBezTo>
                        <a:pt x="389094" y="164162"/>
                        <a:pt x="408513" y="184006"/>
                        <a:pt x="409232" y="208901"/>
                      </a:cubicBezTo>
                      <a:cubicBezTo>
                        <a:pt x="409232" y="209261"/>
                        <a:pt x="409232" y="209983"/>
                        <a:pt x="409232" y="210344"/>
                      </a:cubicBezTo>
                      <a:cubicBezTo>
                        <a:pt x="409232" y="215756"/>
                        <a:pt x="408153" y="221168"/>
                        <a:pt x="406355" y="226219"/>
                      </a:cubicBezTo>
                      <a:cubicBezTo>
                        <a:pt x="423616" y="232713"/>
                        <a:pt x="436203" y="250031"/>
                        <a:pt x="436203" y="270958"/>
                      </a:cubicBezTo>
                      <a:cubicBezTo>
                        <a:pt x="436203" y="295852"/>
                        <a:pt x="414986" y="317139"/>
                        <a:pt x="390173" y="317139"/>
                      </a:cubicBezTo>
                      <a:cubicBezTo>
                        <a:pt x="46030" y="317139"/>
                        <a:pt x="46030" y="317139"/>
                        <a:pt x="46030" y="317139"/>
                      </a:cubicBezTo>
                      <a:cubicBezTo>
                        <a:pt x="21217" y="317139"/>
                        <a:pt x="0" y="295852"/>
                        <a:pt x="0" y="270958"/>
                      </a:cubicBezTo>
                      <a:cubicBezTo>
                        <a:pt x="0" y="243898"/>
                        <a:pt x="21217" y="222972"/>
                        <a:pt x="46030" y="222972"/>
                      </a:cubicBezTo>
                      <a:cubicBezTo>
                        <a:pt x="63650" y="222972"/>
                        <a:pt x="80192" y="222972"/>
                        <a:pt x="96015" y="222972"/>
                      </a:cubicBezTo>
                      <a:cubicBezTo>
                        <a:pt x="94577" y="219003"/>
                        <a:pt x="93857" y="214673"/>
                        <a:pt x="93857" y="210344"/>
                      </a:cubicBezTo>
                      <a:cubicBezTo>
                        <a:pt x="93857" y="207818"/>
                        <a:pt x="94217" y="204932"/>
                        <a:pt x="94577" y="202406"/>
                      </a:cubicBezTo>
                      <a:cubicBezTo>
                        <a:pt x="98532" y="179315"/>
                        <a:pt x="117951" y="162358"/>
                        <a:pt x="140606" y="162358"/>
                      </a:cubicBezTo>
                      <a:cubicBezTo>
                        <a:pt x="174050" y="162358"/>
                        <a:pt x="202099" y="162358"/>
                        <a:pt x="226192" y="162358"/>
                      </a:cubicBezTo>
                      <a:cubicBezTo>
                        <a:pt x="223316" y="156225"/>
                        <a:pt x="221518" y="149009"/>
                        <a:pt x="221518" y="141432"/>
                      </a:cubicBezTo>
                      <a:cubicBezTo>
                        <a:pt x="221518" y="116176"/>
                        <a:pt x="242734" y="95250"/>
                        <a:pt x="267547" y="95250"/>
                      </a:cubicBezTo>
                      <a:close/>
                      <a:moveTo>
                        <a:pt x="324911" y="0"/>
                      </a:moveTo>
                      <a:cubicBezTo>
                        <a:pt x="375361" y="0"/>
                        <a:pt x="375361" y="0"/>
                        <a:pt x="375361" y="0"/>
                      </a:cubicBezTo>
                      <a:cubicBezTo>
                        <a:pt x="400585" y="0"/>
                        <a:pt x="420405" y="19755"/>
                        <a:pt x="420405" y="43460"/>
                      </a:cubicBezTo>
                      <a:cubicBezTo>
                        <a:pt x="420405" y="50644"/>
                        <a:pt x="418963" y="57109"/>
                        <a:pt x="416081" y="63215"/>
                      </a:cubicBezTo>
                      <a:cubicBezTo>
                        <a:pt x="439864" y="65011"/>
                        <a:pt x="458242" y="84047"/>
                        <a:pt x="458242" y="108112"/>
                      </a:cubicBezTo>
                      <a:cubicBezTo>
                        <a:pt x="458242" y="113141"/>
                        <a:pt x="457521" y="118169"/>
                        <a:pt x="455719" y="122838"/>
                      </a:cubicBezTo>
                      <a:cubicBezTo>
                        <a:pt x="471935" y="128944"/>
                        <a:pt x="483827" y="145107"/>
                        <a:pt x="483466" y="164503"/>
                      </a:cubicBezTo>
                      <a:cubicBezTo>
                        <a:pt x="483466" y="187849"/>
                        <a:pt x="463647" y="207604"/>
                        <a:pt x="440224" y="207604"/>
                      </a:cubicBezTo>
                      <a:cubicBezTo>
                        <a:pt x="434459" y="207604"/>
                        <a:pt x="428333" y="207604"/>
                        <a:pt x="422567" y="207604"/>
                      </a:cubicBezTo>
                      <a:cubicBezTo>
                        <a:pt x="421846" y="181743"/>
                        <a:pt x="405270" y="159834"/>
                        <a:pt x="381487" y="151572"/>
                      </a:cubicBezTo>
                      <a:cubicBezTo>
                        <a:pt x="381847" y="147981"/>
                        <a:pt x="382207" y="144389"/>
                        <a:pt x="382207" y="140438"/>
                      </a:cubicBezTo>
                      <a:cubicBezTo>
                        <a:pt x="382207" y="107753"/>
                        <a:pt x="354821" y="81174"/>
                        <a:pt x="320948" y="81174"/>
                      </a:cubicBezTo>
                      <a:lnTo>
                        <a:pt x="267255" y="81174"/>
                      </a:lnTo>
                      <a:cubicBezTo>
                        <a:pt x="234823" y="81174"/>
                        <a:pt x="207437" y="108471"/>
                        <a:pt x="207437" y="140438"/>
                      </a:cubicBezTo>
                      <a:cubicBezTo>
                        <a:pt x="207437" y="142952"/>
                        <a:pt x="207797" y="145466"/>
                        <a:pt x="208157" y="147981"/>
                      </a:cubicBezTo>
                      <a:lnTo>
                        <a:pt x="140051" y="147981"/>
                      </a:lnTo>
                      <a:cubicBezTo>
                        <a:pt x="113024" y="147981"/>
                        <a:pt x="90322" y="166299"/>
                        <a:pt x="82755" y="191082"/>
                      </a:cubicBezTo>
                      <a:cubicBezTo>
                        <a:pt x="76629" y="183898"/>
                        <a:pt x="73025" y="174560"/>
                        <a:pt x="73025" y="164503"/>
                      </a:cubicBezTo>
                      <a:cubicBezTo>
                        <a:pt x="73025" y="139360"/>
                        <a:pt x="92845" y="119606"/>
                        <a:pt x="116267" y="119606"/>
                      </a:cubicBezTo>
                      <a:cubicBezTo>
                        <a:pt x="132844" y="119606"/>
                        <a:pt x="148339" y="119606"/>
                        <a:pt x="163474" y="119606"/>
                      </a:cubicBezTo>
                      <a:cubicBezTo>
                        <a:pt x="162393" y="116014"/>
                        <a:pt x="161672" y="112063"/>
                        <a:pt x="161672" y="108112"/>
                      </a:cubicBezTo>
                      <a:cubicBezTo>
                        <a:pt x="161672" y="82970"/>
                        <a:pt x="181852" y="63215"/>
                        <a:pt x="205635" y="63215"/>
                      </a:cubicBezTo>
                      <a:cubicBezTo>
                        <a:pt x="236985" y="63215"/>
                        <a:pt x="263291" y="63215"/>
                        <a:pt x="285993" y="63215"/>
                      </a:cubicBezTo>
                      <a:cubicBezTo>
                        <a:pt x="283111" y="57109"/>
                        <a:pt x="281669" y="50285"/>
                        <a:pt x="281669" y="43460"/>
                      </a:cubicBezTo>
                      <a:cubicBezTo>
                        <a:pt x="281669" y="19755"/>
                        <a:pt x="301489" y="0"/>
                        <a:pt x="324911" y="0"/>
                      </a:cubicBezTo>
                      <a:close/>
                    </a:path>
                  </a:pathLst>
                </a:custGeom>
                <a:solidFill>
                  <a:srgbClr val="003C56"/>
                </a:solidFill>
                <a:ln>
                  <a:noFill/>
                </a:ln>
                <a:effectLst/>
              </p:spPr>
              <p:txBody>
                <a:bodyPr wrap="square" anchor="ctr">
                  <a:noAutofit/>
                </a:bodyPr>
                <a:lstStyle/>
                <a:p>
                  <a:pPr marL="0" marR="0" lvl="0" indent="0" algn="l" defTabSz="32670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7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Next" panose="020B0503020202020204" pitchFamily="34" charset="0"/>
                    <a:ea typeface="+mn-ea"/>
                    <a:cs typeface="CiscoSansTT" panose="020B0503020201020303" pitchFamily="34" charset="0"/>
                    <a:sym typeface="Arial"/>
                  </a:endParaRPr>
                </a:p>
              </p:txBody>
            </p:sp>
          </p:grp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AD15FA6-5BE0-D95E-AC24-97FF9B14DE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72687" y="2735834"/>
              <a:ext cx="1163156" cy="1163156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9516FA4-D2DC-4B9E-452B-616CC72A7B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721939" y="1306319"/>
              <a:ext cx="238160" cy="233481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031924A-4CCF-FB18-488A-C19D5B2B263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352798" y="4027503"/>
              <a:ext cx="467781" cy="330369"/>
            </a:xfrm>
            <a:prstGeom prst="rect">
              <a:avLst/>
            </a:prstGeom>
          </p:spPr>
        </p:pic>
      </p:grpSp>
      <p:sp>
        <p:nvSpPr>
          <p:cNvPr id="121" name="Right Arrow 120">
            <a:extLst>
              <a:ext uri="{FF2B5EF4-FFF2-40B4-BE49-F238E27FC236}">
                <a16:creationId xmlns:a16="http://schemas.microsoft.com/office/drawing/2014/main" id="{567012C7-BD0B-4EF2-6246-A130F4205F6F}"/>
              </a:ext>
            </a:extLst>
          </p:cNvPr>
          <p:cNvSpPr/>
          <p:nvPr/>
        </p:nvSpPr>
        <p:spPr>
          <a:xfrm>
            <a:off x="3892378" y="2614836"/>
            <a:ext cx="679622" cy="517058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R" sz="1800" b="0" i="0" u="none" strike="noStrike" kern="1200" cap="none" spc="0" normalizeH="0" baseline="0" noProof="0" dirty="0">
              <a:ln>
                <a:noFill/>
              </a:ln>
              <a:solidFill>
                <a:srgbClr val="0D27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09671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49EF573-36EA-764E-B784-AFDD4AE98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oud Native Application Platform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F931013-ACAB-F2FE-B7DA-18F8D375CE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529" y="959536"/>
            <a:ext cx="6584556" cy="3906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5883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Box 38">
            <a:extLst>
              <a:ext uri="{FF2B5EF4-FFF2-40B4-BE49-F238E27FC236}">
                <a16:creationId xmlns:a16="http://schemas.microsoft.com/office/drawing/2014/main" id="{8E3FF8F9-5A1E-0147-A7E8-D57A610125A6}"/>
              </a:ext>
            </a:extLst>
          </p:cNvPr>
          <p:cNvSpPr txBox="1"/>
          <p:nvPr/>
        </p:nvSpPr>
        <p:spPr>
          <a:xfrm>
            <a:off x="7162550" y="1818067"/>
            <a:ext cx="1134059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D274D"/>
                </a:solidFill>
                <a:effectLst/>
                <a:uLnTx/>
                <a:uFillTx/>
                <a:latin typeface="CiscoSansTT" panose="020B0503020201020303" pitchFamily="34" charset="0"/>
                <a:cs typeface="CiscoSansTT" panose="020B0503020201020303" pitchFamily="34" charset="0"/>
                <a:sym typeface="Arial"/>
              </a:rPr>
              <a:t>Picks up cash </a:t>
            </a:r>
            <a:b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D274D"/>
                </a:solidFill>
                <a:effectLst/>
                <a:uLnTx/>
                <a:uFillTx/>
                <a:latin typeface="CiscoSansTT" panose="020B0503020201020303" pitchFamily="34" charset="0"/>
                <a:cs typeface="CiscoSansTT" panose="020B0503020201020303" pitchFamily="34" charset="0"/>
                <a:sym typeface="Arial"/>
              </a:rPr>
            </a:b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D274D"/>
                </a:solidFill>
                <a:effectLst/>
                <a:uLnTx/>
                <a:uFillTx/>
                <a:latin typeface="CiscoSansTT" panose="020B0503020201020303" pitchFamily="34" charset="0"/>
                <a:cs typeface="CiscoSansTT" panose="020B0503020201020303" pitchFamily="34" charset="0"/>
                <a:sym typeface="Arial"/>
              </a:rPr>
              <a:t>without touching ATM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D102362-FE64-4142-B48C-C097C2C8AF56}"/>
              </a:ext>
            </a:extLst>
          </p:cNvPr>
          <p:cNvGrpSpPr/>
          <p:nvPr/>
        </p:nvGrpSpPr>
        <p:grpSpPr>
          <a:xfrm>
            <a:off x="2113381" y="3550574"/>
            <a:ext cx="5488523" cy="313260"/>
            <a:chOff x="2829130" y="4353173"/>
            <a:chExt cx="7318030" cy="417680"/>
          </a:xfrm>
          <a:solidFill>
            <a:srgbClr val="00BCEB"/>
          </a:solidFill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3626559-496E-9549-90A3-F0EF783E60BD}"/>
                </a:ext>
              </a:extLst>
            </p:cNvPr>
            <p:cNvGrpSpPr/>
            <p:nvPr/>
          </p:nvGrpSpPr>
          <p:grpSpPr>
            <a:xfrm>
              <a:off x="10012250" y="4353173"/>
              <a:ext cx="134910" cy="417680"/>
              <a:chOff x="3444152" y="4496864"/>
              <a:chExt cx="185738" cy="575044"/>
            </a:xfrm>
            <a:grpFill/>
          </p:grpSpPr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65939F4C-018B-2F40-BCBC-9484AF67A49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37021" y="4590518"/>
                <a:ext cx="0" cy="481390"/>
              </a:xfrm>
              <a:prstGeom prst="line">
                <a:avLst/>
              </a:prstGeom>
              <a:grpFill/>
              <a:ln w="19050">
                <a:solidFill>
                  <a:srgbClr val="00BCEB"/>
                </a:solidFill>
                <a:headEnd type="oval" w="med" len="med"/>
                <a:tailEnd w="lg" len="med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DF80C444-041A-B349-9C30-9A83C64EFF7D}"/>
                  </a:ext>
                </a:extLst>
              </p:cNvPr>
              <p:cNvSpPr/>
              <p:nvPr/>
            </p:nvSpPr>
            <p:spPr>
              <a:xfrm>
                <a:off x="3444152" y="4496864"/>
                <a:ext cx="185738" cy="185738"/>
              </a:xfrm>
              <a:prstGeom prst="ellipse">
                <a:avLst/>
              </a:prstGeom>
              <a:grpFill/>
              <a:ln>
                <a:solidFill>
                  <a:srgbClr val="00BC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endParaRPr>
              </a:p>
            </p:txBody>
          </p:sp>
        </p:grp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7531CADC-FD3D-424B-9022-ACCED6B67ADC}"/>
                </a:ext>
              </a:extLst>
            </p:cNvPr>
            <p:cNvCxnSpPr>
              <a:cxnSpLocks/>
            </p:cNvCxnSpPr>
            <p:nvPr/>
          </p:nvCxnSpPr>
          <p:spPr>
            <a:xfrm>
              <a:off x="2884969" y="4770851"/>
              <a:ext cx="7204896" cy="0"/>
            </a:xfrm>
            <a:prstGeom prst="line">
              <a:avLst/>
            </a:prstGeom>
            <a:grpFill/>
            <a:ln w="19050">
              <a:solidFill>
                <a:srgbClr val="00BCEB"/>
              </a:solidFill>
              <a:headEnd type="none" w="med" len="med"/>
              <a:tailEnd w="lg" len="med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4A45E973-5E1F-5948-8B61-876CB6AAECD0}"/>
                </a:ext>
              </a:extLst>
            </p:cNvPr>
            <p:cNvGrpSpPr/>
            <p:nvPr/>
          </p:nvGrpSpPr>
          <p:grpSpPr>
            <a:xfrm>
              <a:off x="9260410" y="4353173"/>
              <a:ext cx="134910" cy="417680"/>
              <a:chOff x="3444152" y="4496864"/>
              <a:chExt cx="185738" cy="575044"/>
            </a:xfrm>
            <a:grpFill/>
          </p:grpSpPr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0C0DC8E0-FC22-8644-8178-14E004C09FE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37021" y="4590518"/>
                <a:ext cx="0" cy="481390"/>
              </a:xfrm>
              <a:prstGeom prst="line">
                <a:avLst/>
              </a:prstGeom>
              <a:grpFill/>
              <a:ln w="19050">
                <a:solidFill>
                  <a:srgbClr val="00BCEB"/>
                </a:solidFill>
                <a:headEnd type="oval" w="med" len="med"/>
                <a:tailEnd w="lg" len="med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CFF3ABC3-3984-8F43-89EC-502317785445}"/>
                  </a:ext>
                </a:extLst>
              </p:cNvPr>
              <p:cNvSpPr/>
              <p:nvPr/>
            </p:nvSpPr>
            <p:spPr>
              <a:xfrm>
                <a:off x="3444152" y="4496864"/>
                <a:ext cx="185738" cy="185738"/>
              </a:xfrm>
              <a:prstGeom prst="ellipse">
                <a:avLst/>
              </a:prstGeom>
              <a:grpFill/>
              <a:ln>
                <a:solidFill>
                  <a:srgbClr val="00BC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endParaRPr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DFE0C744-C914-654D-AC18-0DCC1EA33AD1}"/>
                </a:ext>
              </a:extLst>
            </p:cNvPr>
            <p:cNvGrpSpPr/>
            <p:nvPr/>
          </p:nvGrpSpPr>
          <p:grpSpPr>
            <a:xfrm>
              <a:off x="7726250" y="4353173"/>
              <a:ext cx="134910" cy="417680"/>
              <a:chOff x="3444152" y="4496864"/>
              <a:chExt cx="185738" cy="575044"/>
            </a:xfrm>
            <a:grpFill/>
          </p:grpSpPr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8D9C3DA4-3506-3A43-8FEF-703636EFA6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37021" y="4590518"/>
                <a:ext cx="0" cy="481390"/>
              </a:xfrm>
              <a:prstGeom prst="line">
                <a:avLst/>
              </a:prstGeom>
              <a:grpFill/>
              <a:ln w="19050">
                <a:solidFill>
                  <a:srgbClr val="00BCEB"/>
                </a:solidFill>
                <a:headEnd type="oval" w="med" len="med"/>
                <a:tailEnd w="lg" len="med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343ADCE7-0C36-BA4A-AD99-0DD552268E1D}"/>
                  </a:ext>
                </a:extLst>
              </p:cNvPr>
              <p:cNvSpPr/>
              <p:nvPr/>
            </p:nvSpPr>
            <p:spPr>
              <a:xfrm>
                <a:off x="3444152" y="4496864"/>
                <a:ext cx="185738" cy="185738"/>
              </a:xfrm>
              <a:prstGeom prst="ellipse">
                <a:avLst/>
              </a:prstGeom>
              <a:grpFill/>
              <a:ln>
                <a:solidFill>
                  <a:srgbClr val="00BC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endParaRPr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E4E9756C-92E6-DF4E-8031-ECD9CF67A69F}"/>
                </a:ext>
              </a:extLst>
            </p:cNvPr>
            <p:cNvGrpSpPr/>
            <p:nvPr/>
          </p:nvGrpSpPr>
          <p:grpSpPr>
            <a:xfrm>
              <a:off x="5988890" y="4353173"/>
              <a:ext cx="134910" cy="417680"/>
              <a:chOff x="3444152" y="4496864"/>
              <a:chExt cx="185738" cy="575044"/>
            </a:xfrm>
            <a:grpFill/>
          </p:grpSpPr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DDAE1337-9689-CF4C-8CB2-FF334C8D6D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37021" y="4590518"/>
                <a:ext cx="0" cy="481390"/>
              </a:xfrm>
              <a:prstGeom prst="line">
                <a:avLst/>
              </a:prstGeom>
              <a:grpFill/>
              <a:ln w="19050">
                <a:solidFill>
                  <a:srgbClr val="00BCEB"/>
                </a:solidFill>
                <a:headEnd type="oval" w="med" len="med"/>
                <a:tailEnd w="lg" len="med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5325AFEA-37AC-4B47-AEAA-69AB162AADD2}"/>
                  </a:ext>
                </a:extLst>
              </p:cNvPr>
              <p:cNvSpPr/>
              <p:nvPr/>
            </p:nvSpPr>
            <p:spPr>
              <a:xfrm>
                <a:off x="3444152" y="4496864"/>
                <a:ext cx="185738" cy="185738"/>
              </a:xfrm>
              <a:prstGeom prst="ellipse">
                <a:avLst/>
              </a:prstGeom>
              <a:grpFill/>
              <a:ln>
                <a:solidFill>
                  <a:srgbClr val="00BC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1AB637D2-7A4F-6145-BB6E-80AB0927BC00}"/>
                </a:ext>
              </a:extLst>
            </p:cNvPr>
            <p:cNvGrpSpPr/>
            <p:nvPr/>
          </p:nvGrpSpPr>
          <p:grpSpPr>
            <a:xfrm>
              <a:off x="4302330" y="4353173"/>
              <a:ext cx="134910" cy="417680"/>
              <a:chOff x="3444152" y="4496864"/>
              <a:chExt cx="185738" cy="575044"/>
            </a:xfrm>
            <a:grpFill/>
          </p:grpSpPr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DEB3F2D2-D12A-E243-BC43-519B8F0CD73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37021" y="4590518"/>
                <a:ext cx="0" cy="481390"/>
              </a:xfrm>
              <a:prstGeom prst="line">
                <a:avLst/>
              </a:prstGeom>
              <a:grpFill/>
              <a:ln w="19050">
                <a:solidFill>
                  <a:srgbClr val="00BCEB"/>
                </a:solidFill>
                <a:headEnd type="oval" w="med" len="med"/>
                <a:tailEnd w="lg" len="med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FF5BBE79-E350-AC4A-8E42-5F8C7F86FE04}"/>
                  </a:ext>
                </a:extLst>
              </p:cNvPr>
              <p:cNvSpPr/>
              <p:nvPr/>
            </p:nvSpPr>
            <p:spPr>
              <a:xfrm>
                <a:off x="3444152" y="4496864"/>
                <a:ext cx="185738" cy="185738"/>
              </a:xfrm>
              <a:prstGeom prst="ellipse">
                <a:avLst/>
              </a:prstGeom>
              <a:grpFill/>
              <a:ln>
                <a:solidFill>
                  <a:srgbClr val="00BC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endParaRP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E2FA77E7-4CFF-3649-BF94-CDC215C11D66}"/>
                </a:ext>
              </a:extLst>
            </p:cNvPr>
            <p:cNvGrpSpPr/>
            <p:nvPr/>
          </p:nvGrpSpPr>
          <p:grpSpPr>
            <a:xfrm>
              <a:off x="2829130" y="4353173"/>
              <a:ext cx="134910" cy="417680"/>
              <a:chOff x="3444152" y="4496864"/>
              <a:chExt cx="185738" cy="575044"/>
            </a:xfrm>
            <a:grpFill/>
          </p:grpSpPr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465EFBA6-A284-4246-9EE9-7FA6A35CB7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37021" y="4590518"/>
                <a:ext cx="0" cy="481390"/>
              </a:xfrm>
              <a:prstGeom prst="line">
                <a:avLst/>
              </a:prstGeom>
              <a:grpFill/>
              <a:ln w="19050">
                <a:solidFill>
                  <a:srgbClr val="00BCEB"/>
                </a:solidFill>
                <a:headEnd type="oval" w="med" len="med"/>
                <a:tailEnd w="lg" len="med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1BB842B2-A423-B747-8C2A-37DA70CB9BFA}"/>
                  </a:ext>
                </a:extLst>
              </p:cNvPr>
              <p:cNvSpPr/>
              <p:nvPr/>
            </p:nvSpPr>
            <p:spPr>
              <a:xfrm>
                <a:off x="3444152" y="4496864"/>
                <a:ext cx="185738" cy="185738"/>
              </a:xfrm>
              <a:prstGeom prst="ellipse">
                <a:avLst/>
              </a:prstGeom>
              <a:grpFill/>
              <a:ln>
                <a:solidFill>
                  <a:srgbClr val="00BC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Arial"/>
                </a:endParaRPr>
              </a:p>
            </p:txBody>
          </p:sp>
        </p:grp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8209D659-5021-4C7D-A0C1-7270AA0F00AC}"/>
              </a:ext>
            </a:extLst>
          </p:cNvPr>
          <p:cNvGrpSpPr/>
          <p:nvPr/>
        </p:nvGrpSpPr>
        <p:grpSpPr>
          <a:xfrm>
            <a:off x="358273" y="1207727"/>
            <a:ext cx="8386280" cy="1048921"/>
            <a:chOff x="358273" y="1207727"/>
            <a:chExt cx="8386280" cy="1048921"/>
          </a:xfrm>
        </p:grpSpPr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4308160-DE75-4FDE-8E36-AA2D189C53DF}"/>
                </a:ext>
              </a:extLst>
            </p:cNvPr>
            <p:cNvCxnSpPr>
              <a:cxnSpLocks/>
            </p:cNvCxnSpPr>
            <p:nvPr/>
          </p:nvCxnSpPr>
          <p:spPr>
            <a:xfrm>
              <a:off x="1782532" y="1589785"/>
              <a:ext cx="6276220" cy="2555"/>
            </a:xfrm>
            <a:prstGeom prst="line">
              <a:avLst/>
            </a:prstGeom>
            <a:noFill/>
            <a:ln w="38100" cap="rnd">
              <a:solidFill>
                <a:schemeClr val="tx1"/>
              </a:solidFill>
              <a:prstDash val="sysDot"/>
            </a:ln>
          </p:spPr>
        </p:cxnSp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66D9F383-CEA4-479B-A3FF-2AEA729E14E2}"/>
                </a:ext>
              </a:extLst>
            </p:cNvPr>
            <p:cNvSpPr/>
            <p:nvPr/>
          </p:nvSpPr>
          <p:spPr>
            <a:xfrm>
              <a:off x="6827733" y="1345072"/>
              <a:ext cx="753399" cy="49197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D274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D822AD46-9EE7-4AE8-BD37-F6B8DB7F4E20}"/>
                </a:ext>
              </a:extLst>
            </p:cNvPr>
            <p:cNvSpPr/>
            <p:nvPr/>
          </p:nvSpPr>
          <p:spPr>
            <a:xfrm>
              <a:off x="1979927" y="1278276"/>
              <a:ext cx="688220" cy="49197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D274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71" name="Graphic 70">
              <a:extLst>
                <a:ext uri="{FF2B5EF4-FFF2-40B4-BE49-F238E27FC236}">
                  <a16:creationId xmlns:a16="http://schemas.microsoft.com/office/drawing/2014/main" id="{856926F4-F46E-46AB-A7AF-469C250962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058753" y="1207727"/>
              <a:ext cx="685800" cy="685799"/>
            </a:xfrm>
            <a:prstGeom prst="rect">
              <a:avLst/>
            </a:prstGeom>
          </p:spPr>
        </p:pic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6EF52BB-E582-46E0-8182-5DF2CA564342}"/>
                </a:ext>
              </a:extLst>
            </p:cNvPr>
            <p:cNvSpPr/>
            <p:nvPr/>
          </p:nvSpPr>
          <p:spPr>
            <a:xfrm>
              <a:off x="358273" y="1408136"/>
              <a:ext cx="1319592" cy="30405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cs typeface="CiscoSansTT Light" panose="020B0503020201020303" pitchFamily="34" charset="0"/>
                  <a:sym typeface="Arial"/>
                </a:rPr>
                <a:t>Customer Journey</a:t>
              </a: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04F1E5BD-842F-4C3A-8D12-251F0D4EA37D}"/>
                </a:ext>
              </a:extLst>
            </p:cNvPr>
            <p:cNvCxnSpPr>
              <a:cxnSpLocks/>
            </p:cNvCxnSpPr>
            <p:nvPr/>
          </p:nvCxnSpPr>
          <p:spPr>
            <a:xfrm>
              <a:off x="1674697" y="1402158"/>
              <a:ext cx="0" cy="364516"/>
            </a:xfrm>
            <a:prstGeom prst="line">
              <a:avLst/>
            </a:prstGeom>
            <a:ln w="50800" cap="rnd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B55A9886-E89B-4605-B962-C6C0237AB0E8}"/>
                </a:ext>
              </a:extLst>
            </p:cNvPr>
            <p:cNvGrpSpPr/>
            <p:nvPr/>
          </p:nvGrpSpPr>
          <p:grpSpPr>
            <a:xfrm>
              <a:off x="6859858" y="1389693"/>
              <a:ext cx="669782" cy="413515"/>
              <a:chOff x="9324892" y="3246698"/>
              <a:chExt cx="1022374" cy="631202"/>
            </a:xfrm>
          </p:grpSpPr>
          <p:pic>
            <p:nvPicPr>
              <p:cNvPr id="81" name="Picture 80">
                <a:extLst>
                  <a:ext uri="{FF2B5EF4-FFF2-40B4-BE49-F238E27FC236}">
                    <a16:creationId xmlns:a16="http://schemas.microsoft.com/office/drawing/2014/main" id="{2B5FAD4C-F4E4-4A68-A7A5-549CD381BB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lum bright="70000" contrast="-70000"/>
              </a:blip>
              <a:stretch>
                <a:fillRect/>
              </a:stretch>
            </p:blipFill>
            <p:spPr>
              <a:xfrm>
                <a:off x="9778559" y="3246698"/>
                <a:ext cx="568707" cy="631202"/>
              </a:xfrm>
              <a:prstGeom prst="rect">
                <a:avLst/>
              </a:prstGeom>
              <a:noFill/>
            </p:spPr>
          </p:pic>
          <p:pic>
            <p:nvPicPr>
              <p:cNvPr id="82" name="Picture 81">
                <a:extLst>
                  <a:ext uri="{FF2B5EF4-FFF2-40B4-BE49-F238E27FC236}">
                    <a16:creationId xmlns:a16="http://schemas.microsoft.com/office/drawing/2014/main" id="{070292D3-A0E4-4569-B286-BAE9641F65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lum bright="70000" contrast="-70000"/>
              </a:blip>
              <a:stretch>
                <a:fillRect/>
              </a:stretch>
            </p:blipFill>
            <p:spPr>
              <a:xfrm>
                <a:off x="9324892" y="3347615"/>
                <a:ext cx="446068" cy="430324"/>
              </a:xfrm>
              <a:prstGeom prst="rect">
                <a:avLst/>
              </a:prstGeom>
              <a:noFill/>
            </p:spPr>
          </p:pic>
        </p:grp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357DDC3-FE59-4CE6-81B4-4F53DDA0FDC2}"/>
                </a:ext>
              </a:extLst>
            </p:cNvPr>
            <p:cNvSpPr txBox="1"/>
            <p:nvPr/>
          </p:nvSpPr>
          <p:spPr>
            <a:xfrm>
              <a:off x="6034482" y="1818066"/>
              <a:ext cx="1134058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Authenticates on phone enters amount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9B7820A1-0F5A-4766-9104-27DF508DB95D}"/>
                </a:ext>
              </a:extLst>
            </p:cNvPr>
            <p:cNvSpPr txBox="1"/>
            <p:nvPr/>
          </p:nvSpPr>
          <p:spPr>
            <a:xfrm>
              <a:off x="7162551" y="1818066"/>
              <a:ext cx="1134058" cy="438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Picks up cash </a:t>
              </a:r>
              <a:b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</a:b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without touching ATM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5E6F931B-F849-4A64-B0AA-D21FADB0927A}"/>
                </a:ext>
              </a:extLst>
            </p:cNvPr>
            <p:cNvSpPr txBox="1"/>
            <p:nvPr/>
          </p:nvSpPr>
          <p:spPr>
            <a:xfrm>
              <a:off x="1770373" y="1818066"/>
              <a:ext cx="1012385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Customer locates and drives to ATM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5B8A970A-52A6-4062-B66D-BE9DC73D9CE1}"/>
                </a:ext>
              </a:extLst>
            </p:cNvPr>
            <p:cNvGrpSpPr/>
            <p:nvPr/>
          </p:nvGrpSpPr>
          <p:grpSpPr>
            <a:xfrm>
              <a:off x="2009423" y="1318376"/>
              <a:ext cx="688220" cy="451879"/>
              <a:chOff x="2639902" y="2135380"/>
              <a:chExt cx="872133" cy="602506"/>
            </a:xfrm>
          </p:grpSpPr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6ABFA2F1-0190-41E5-9DDF-AA4D8B39F59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hqprint">
                <a:lum bright="70000" contrast="-7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29559"/>
              <a:stretch/>
            </p:blipFill>
            <p:spPr>
              <a:xfrm>
                <a:off x="2639902" y="2260827"/>
                <a:ext cx="496765" cy="388374"/>
              </a:xfrm>
              <a:prstGeom prst="rect">
                <a:avLst/>
              </a:prstGeom>
              <a:noFill/>
            </p:spPr>
          </p:pic>
          <p:pic>
            <p:nvPicPr>
              <p:cNvPr id="80" name="Picture 79">
                <a:extLst>
                  <a:ext uri="{FF2B5EF4-FFF2-40B4-BE49-F238E27FC236}">
                    <a16:creationId xmlns:a16="http://schemas.microsoft.com/office/drawing/2014/main" id="{35E54F47-CA83-4417-81D8-BDA496A395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lum bright="70000" contrast="-70000"/>
              </a:blip>
              <a:stretch>
                <a:fillRect/>
              </a:stretch>
            </p:blipFill>
            <p:spPr>
              <a:xfrm>
                <a:off x="3102331" y="2135380"/>
                <a:ext cx="409704" cy="602506"/>
              </a:xfrm>
              <a:prstGeom prst="rect">
                <a:avLst/>
              </a:prstGeom>
              <a:noFill/>
            </p:spPr>
          </p:pic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544645D-7E8E-411D-8072-4D2879B5B1E9}"/>
              </a:ext>
            </a:extLst>
          </p:cNvPr>
          <p:cNvGrpSpPr/>
          <p:nvPr/>
        </p:nvGrpSpPr>
        <p:grpSpPr>
          <a:xfrm>
            <a:off x="435401" y="2246099"/>
            <a:ext cx="8318535" cy="1048814"/>
            <a:chOff x="435401" y="2246099"/>
            <a:chExt cx="8318535" cy="1048814"/>
          </a:xfrm>
        </p:grpSpPr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7A37F279-F671-9649-AE75-B6C6285CA0C4}"/>
                </a:ext>
              </a:extLst>
            </p:cNvPr>
            <p:cNvCxnSpPr>
              <a:cxnSpLocks/>
            </p:cNvCxnSpPr>
            <p:nvPr/>
          </p:nvCxnSpPr>
          <p:spPr>
            <a:xfrm>
              <a:off x="1754984" y="2598112"/>
              <a:ext cx="6276219" cy="2555"/>
            </a:xfrm>
            <a:prstGeom prst="line">
              <a:avLst/>
            </a:prstGeom>
            <a:noFill/>
            <a:ln w="38100" cap="rnd">
              <a:solidFill>
                <a:schemeClr val="tx1"/>
              </a:solidFill>
              <a:prstDash val="sysDot"/>
            </a:ln>
          </p:spPr>
        </p:cxnSp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90C3FDDF-9524-4684-838F-16540B94F04A}"/>
                </a:ext>
              </a:extLst>
            </p:cNvPr>
            <p:cNvSpPr/>
            <p:nvPr/>
          </p:nvSpPr>
          <p:spPr>
            <a:xfrm>
              <a:off x="1991912" y="2346672"/>
              <a:ext cx="325017" cy="491979"/>
            </a:xfrm>
            <a:prstGeom prst="roundRect">
              <a:avLst/>
            </a:prstGeom>
            <a:solidFill>
              <a:srgbClr val="0F02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D274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C556229B-0372-4E37-8BF6-69FB180C2BEB}"/>
                </a:ext>
              </a:extLst>
            </p:cNvPr>
            <p:cNvSpPr/>
            <p:nvPr/>
          </p:nvSpPr>
          <p:spPr>
            <a:xfrm>
              <a:off x="3076820" y="2332459"/>
              <a:ext cx="452844" cy="491979"/>
            </a:xfrm>
            <a:prstGeom prst="roundRect">
              <a:avLst/>
            </a:prstGeom>
            <a:solidFill>
              <a:srgbClr val="0F02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D274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E146B3D0-C21B-4CE6-B6DB-BFCD64113D49}"/>
                </a:ext>
              </a:extLst>
            </p:cNvPr>
            <p:cNvSpPr/>
            <p:nvPr/>
          </p:nvSpPr>
          <p:spPr>
            <a:xfrm>
              <a:off x="4268449" y="2321266"/>
              <a:ext cx="440823" cy="49197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D274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D2C5720F-D6E2-4D2A-92C6-10947F32E13D}"/>
                </a:ext>
              </a:extLst>
            </p:cNvPr>
            <p:cNvSpPr/>
            <p:nvPr/>
          </p:nvSpPr>
          <p:spPr>
            <a:xfrm>
              <a:off x="5498876" y="2313799"/>
              <a:ext cx="535606" cy="491979"/>
            </a:xfrm>
            <a:prstGeom prst="roundRect">
              <a:avLst/>
            </a:prstGeom>
            <a:solidFill>
              <a:srgbClr val="0F02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D274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DB348BFC-2020-46CC-928B-EC397A77C572}"/>
                </a:ext>
              </a:extLst>
            </p:cNvPr>
            <p:cNvSpPr/>
            <p:nvPr/>
          </p:nvSpPr>
          <p:spPr>
            <a:xfrm>
              <a:off x="6842708" y="2320819"/>
              <a:ext cx="738423" cy="491979"/>
            </a:xfrm>
            <a:prstGeom prst="roundRect">
              <a:avLst/>
            </a:prstGeom>
            <a:solidFill>
              <a:srgbClr val="0F02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D274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3F303AF2-3299-8444-A806-9AFAE4225B8C}"/>
                </a:ext>
              </a:extLst>
            </p:cNvPr>
            <p:cNvSpPr/>
            <p:nvPr/>
          </p:nvSpPr>
          <p:spPr>
            <a:xfrm>
              <a:off x="435401" y="2434752"/>
              <a:ext cx="1167307" cy="30098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Digital Journey</a:t>
              </a:r>
            </a:p>
          </p:txBody>
        </p: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C5372503-C92C-BF4E-A646-1EE959EE0A2D}"/>
                </a:ext>
              </a:extLst>
            </p:cNvPr>
            <p:cNvCxnSpPr>
              <a:cxnSpLocks/>
            </p:cNvCxnSpPr>
            <p:nvPr/>
          </p:nvCxnSpPr>
          <p:spPr>
            <a:xfrm>
              <a:off x="1662650" y="2397134"/>
              <a:ext cx="0" cy="364517"/>
            </a:xfrm>
            <a:prstGeom prst="line">
              <a:avLst/>
            </a:prstGeom>
            <a:ln w="50800" cap="rnd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54" name="Picture 1053">
              <a:extLst>
                <a:ext uri="{FF2B5EF4-FFF2-40B4-BE49-F238E27FC236}">
                  <a16:creationId xmlns:a16="http://schemas.microsoft.com/office/drawing/2014/main" id="{8DA341B9-9E00-9143-B06E-FA80F6E5DD6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lum bright="70000" contrast="-70000"/>
            </a:blip>
            <a:stretch>
              <a:fillRect/>
            </a:stretch>
          </p:blipFill>
          <p:spPr>
            <a:xfrm>
              <a:off x="3112482" y="2403805"/>
              <a:ext cx="391444" cy="34928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6" name="Picture 1055">
              <a:extLst>
                <a:ext uri="{FF2B5EF4-FFF2-40B4-BE49-F238E27FC236}">
                  <a16:creationId xmlns:a16="http://schemas.microsoft.com/office/drawing/2014/main" id="{016EA30F-2E70-0E40-8996-217D00D8D2E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lum bright="70000" contrast="-70000"/>
            </a:blip>
            <a:stretch>
              <a:fillRect/>
            </a:stretch>
          </p:blipFill>
          <p:spPr>
            <a:xfrm>
              <a:off x="2033488" y="2378676"/>
              <a:ext cx="228313" cy="399547"/>
            </a:xfrm>
            <a:prstGeom prst="rect">
              <a:avLst/>
            </a:prstGeom>
            <a:noFill/>
          </p:spPr>
        </p:pic>
        <p:grpSp>
          <p:nvGrpSpPr>
            <p:cNvPr id="1058" name="Group 1057">
              <a:extLst>
                <a:ext uri="{FF2B5EF4-FFF2-40B4-BE49-F238E27FC236}">
                  <a16:creationId xmlns:a16="http://schemas.microsoft.com/office/drawing/2014/main" id="{13FADE99-5CFF-A143-8700-0A83526B745C}"/>
                </a:ext>
              </a:extLst>
            </p:cNvPr>
            <p:cNvGrpSpPr/>
            <p:nvPr/>
          </p:nvGrpSpPr>
          <p:grpSpPr>
            <a:xfrm>
              <a:off x="4276079" y="2363397"/>
              <a:ext cx="466794" cy="430105"/>
              <a:chOff x="6371726" y="3348376"/>
              <a:chExt cx="622392" cy="573473"/>
            </a:xfrm>
          </p:grpSpPr>
          <p:pic>
            <p:nvPicPr>
              <p:cNvPr id="1057" name="Picture 1056">
                <a:extLst>
                  <a:ext uri="{FF2B5EF4-FFF2-40B4-BE49-F238E27FC236}">
                    <a16:creationId xmlns:a16="http://schemas.microsoft.com/office/drawing/2014/main" id="{030B3E48-0701-8A4F-83B1-FE6AC49BB0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lum bright="70000" contrast="-70000"/>
              </a:blip>
              <a:stretch>
                <a:fillRect/>
              </a:stretch>
            </p:blipFill>
            <p:spPr>
              <a:xfrm>
                <a:off x="6402926" y="3348376"/>
                <a:ext cx="521925" cy="573473"/>
              </a:xfrm>
              <a:prstGeom prst="rect">
                <a:avLst/>
              </a:prstGeom>
              <a:solidFill>
                <a:srgbClr val="0F0258"/>
              </a:solidFill>
            </p:spPr>
          </p:pic>
          <p:sp>
            <p:nvSpPr>
              <p:cNvPr id="265" name="TextBox 264">
                <a:extLst>
                  <a:ext uri="{FF2B5EF4-FFF2-40B4-BE49-F238E27FC236}">
                    <a16:creationId xmlns:a16="http://schemas.microsoft.com/office/drawing/2014/main" id="{A434ECF0-9021-1846-B528-47D48347EA13}"/>
                  </a:ext>
                </a:extLst>
              </p:cNvPr>
              <p:cNvSpPr txBox="1"/>
              <p:nvPr/>
            </p:nvSpPr>
            <p:spPr>
              <a:xfrm>
                <a:off x="6371726" y="3457593"/>
                <a:ext cx="622392" cy="30777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Medium" panose="020B0503020201020303" pitchFamily="34" charset="0"/>
                    <a:cs typeface="CiscoSansTT Medium" panose="020B0503020201020303" pitchFamily="34" charset="0"/>
                    <a:sym typeface="Arial"/>
                  </a:rPr>
                  <a:t>SaaS</a:t>
                </a:r>
              </a:p>
            </p:txBody>
          </p:sp>
        </p:grpSp>
        <p:grpSp>
          <p:nvGrpSpPr>
            <p:cNvPr id="1062" name="Group 1061">
              <a:extLst>
                <a:ext uri="{FF2B5EF4-FFF2-40B4-BE49-F238E27FC236}">
                  <a16:creationId xmlns:a16="http://schemas.microsoft.com/office/drawing/2014/main" id="{09AE7D44-4861-5E4C-B6D1-4EE23B09961D}"/>
                </a:ext>
              </a:extLst>
            </p:cNvPr>
            <p:cNvGrpSpPr/>
            <p:nvPr/>
          </p:nvGrpSpPr>
          <p:grpSpPr>
            <a:xfrm>
              <a:off x="6859858" y="2371691"/>
              <a:ext cx="669781" cy="413516"/>
              <a:chOff x="9324892" y="3246698"/>
              <a:chExt cx="1022374" cy="631202"/>
            </a:xfrm>
          </p:grpSpPr>
          <p:pic>
            <p:nvPicPr>
              <p:cNvPr id="1060" name="Picture 1059">
                <a:extLst>
                  <a:ext uri="{FF2B5EF4-FFF2-40B4-BE49-F238E27FC236}">
                    <a16:creationId xmlns:a16="http://schemas.microsoft.com/office/drawing/2014/main" id="{A7A007D1-DE62-D544-A33E-123741366A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lum bright="70000" contrast="-70000"/>
              </a:blip>
              <a:stretch>
                <a:fillRect/>
              </a:stretch>
            </p:blipFill>
            <p:spPr>
              <a:xfrm>
                <a:off x="9778559" y="3246698"/>
                <a:ext cx="568707" cy="631202"/>
              </a:xfrm>
              <a:prstGeom prst="rect">
                <a:avLst/>
              </a:prstGeom>
              <a:noFill/>
            </p:spPr>
          </p:pic>
          <p:pic>
            <p:nvPicPr>
              <p:cNvPr id="1061" name="Picture 1060">
                <a:extLst>
                  <a:ext uri="{FF2B5EF4-FFF2-40B4-BE49-F238E27FC236}">
                    <a16:creationId xmlns:a16="http://schemas.microsoft.com/office/drawing/2014/main" id="{D50D98FD-8FCE-7840-BE9E-146F26968C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lum bright="70000" contrast="-70000"/>
              </a:blip>
              <a:stretch>
                <a:fillRect/>
              </a:stretch>
            </p:blipFill>
            <p:spPr>
              <a:xfrm>
                <a:off x="9324892" y="3347615"/>
                <a:ext cx="446068" cy="430324"/>
              </a:xfrm>
              <a:prstGeom prst="rect">
                <a:avLst/>
              </a:prstGeom>
              <a:noFill/>
            </p:spPr>
          </p:pic>
        </p:grpSp>
        <p:pic>
          <p:nvPicPr>
            <p:cNvPr id="1063" name="Picture 1062">
              <a:extLst>
                <a:ext uri="{FF2B5EF4-FFF2-40B4-BE49-F238E27FC236}">
                  <a16:creationId xmlns:a16="http://schemas.microsoft.com/office/drawing/2014/main" id="{1EF1FF6E-3AB9-C147-9FA3-B971A28CF0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lum bright="70000" contrast="-70000"/>
            </a:blip>
            <a:stretch>
              <a:fillRect/>
            </a:stretch>
          </p:blipFill>
          <p:spPr>
            <a:xfrm>
              <a:off x="5525504" y="2417078"/>
              <a:ext cx="479505" cy="322744"/>
            </a:xfrm>
            <a:prstGeom prst="rect">
              <a:avLst/>
            </a:prstGeom>
            <a:noFill/>
          </p:spPr>
        </p:pic>
        <p:sp>
          <p:nvSpPr>
            <p:cNvPr id="274" name="TextBox 273">
              <a:extLst>
                <a:ext uri="{FF2B5EF4-FFF2-40B4-BE49-F238E27FC236}">
                  <a16:creationId xmlns:a16="http://schemas.microsoft.com/office/drawing/2014/main" id="{70775BAC-706A-D340-92EE-C13C21CE502A}"/>
                </a:ext>
              </a:extLst>
            </p:cNvPr>
            <p:cNvSpPr txBox="1"/>
            <p:nvPr/>
          </p:nvSpPr>
          <p:spPr>
            <a:xfrm>
              <a:off x="1770374" y="2856329"/>
              <a:ext cx="894084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Mobile App </a:t>
              </a:r>
            </a:p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front-end</a:t>
              </a:r>
            </a:p>
          </p:txBody>
        </p:sp>
        <p:sp>
          <p:nvSpPr>
            <p:cNvPr id="275" name="TextBox 274">
              <a:extLst>
                <a:ext uri="{FF2B5EF4-FFF2-40B4-BE49-F238E27FC236}">
                  <a16:creationId xmlns:a16="http://schemas.microsoft.com/office/drawing/2014/main" id="{6A7289F8-0368-7749-84C9-361B5E9DCB15}"/>
                </a:ext>
              </a:extLst>
            </p:cNvPr>
            <p:cNvSpPr txBox="1"/>
            <p:nvPr/>
          </p:nvSpPr>
          <p:spPr>
            <a:xfrm>
              <a:off x="2728553" y="2856329"/>
              <a:ext cx="1082709" cy="438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Application backend via Cloud (one, many)</a:t>
              </a:r>
            </a:p>
          </p:txBody>
        </p:sp>
        <p:sp>
          <p:nvSpPr>
            <p:cNvPr id="276" name="TextBox 275">
              <a:extLst>
                <a:ext uri="{FF2B5EF4-FFF2-40B4-BE49-F238E27FC236}">
                  <a16:creationId xmlns:a16="http://schemas.microsoft.com/office/drawing/2014/main" id="{BC918284-11E0-7545-952F-8D22ED8CA471}"/>
                </a:ext>
              </a:extLst>
            </p:cNvPr>
            <p:cNvSpPr txBox="1"/>
            <p:nvPr/>
          </p:nvSpPr>
          <p:spPr>
            <a:xfrm>
              <a:off x="4111797" y="2856331"/>
              <a:ext cx="851521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Customer data via SaaS</a:t>
              </a:r>
            </a:p>
          </p:txBody>
        </p:sp>
        <p:sp>
          <p:nvSpPr>
            <p:cNvPr id="277" name="TextBox 276">
              <a:extLst>
                <a:ext uri="{FF2B5EF4-FFF2-40B4-BE49-F238E27FC236}">
                  <a16:creationId xmlns:a16="http://schemas.microsoft.com/office/drawing/2014/main" id="{C8136C4B-87AC-214C-8937-78A586ADF055}"/>
                </a:ext>
              </a:extLst>
            </p:cNvPr>
            <p:cNvSpPr txBox="1"/>
            <p:nvPr/>
          </p:nvSpPr>
          <p:spPr>
            <a:xfrm>
              <a:off x="5159876" y="2856331"/>
              <a:ext cx="1271406" cy="438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Account consistency via on-prem transaction systems</a:t>
              </a:r>
            </a:p>
          </p:txBody>
        </p:sp>
        <p:sp>
          <p:nvSpPr>
            <p:cNvPr id="278" name="TextBox 277">
              <a:extLst>
                <a:ext uri="{FF2B5EF4-FFF2-40B4-BE49-F238E27FC236}">
                  <a16:creationId xmlns:a16="http://schemas.microsoft.com/office/drawing/2014/main" id="{3F27AE77-3DD7-9E43-88C7-86D5F2F98FE1}"/>
                </a:ext>
              </a:extLst>
            </p:cNvPr>
            <p:cNvSpPr txBox="1"/>
            <p:nvPr/>
          </p:nvSpPr>
          <p:spPr>
            <a:xfrm>
              <a:off x="6311932" y="2856331"/>
              <a:ext cx="856609" cy="438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Branch edge footprint </a:t>
              </a:r>
              <a:b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</a:b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for cash</a:t>
              </a:r>
            </a:p>
          </p:txBody>
        </p:sp>
        <p:sp>
          <p:nvSpPr>
            <p:cNvPr id="279" name="TextBox 278">
              <a:extLst>
                <a:ext uri="{FF2B5EF4-FFF2-40B4-BE49-F238E27FC236}">
                  <a16:creationId xmlns:a16="http://schemas.microsoft.com/office/drawing/2014/main" id="{9609C2DE-740B-4747-83B6-12D2B8AE57B7}"/>
                </a:ext>
              </a:extLst>
            </p:cNvPr>
            <p:cNvSpPr txBox="1"/>
            <p:nvPr/>
          </p:nvSpPr>
          <p:spPr>
            <a:xfrm>
              <a:off x="7162551" y="2856331"/>
              <a:ext cx="982382" cy="438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Update cloud back-end and mobile front-end</a:t>
              </a:r>
            </a:p>
          </p:txBody>
        </p:sp>
        <p:pic>
          <p:nvPicPr>
            <p:cNvPr id="84" name="Graphic 83">
              <a:extLst>
                <a:ext uri="{FF2B5EF4-FFF2-40B4-BE49-F238E27FC236}">
                  <a16:creationId xmlns:a16="http://schemas.microsoft.com/office/drawing/2014/main" id="{AC77072C-0E1A-4A31-8E5B-4324FE015FC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068136" y="2246099"/>
              <a:ext cx="685800" cy="685799"/>
            </a:xfrm>
            <a:prstGeom prst="rect">
              <a:avLst/>
            </a:prstGeom>
          </p:spPr>
        </p:pic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7B6CCD5C-CEC1-364A-AF8E-1F909C48A07D}"/>
              </a:ext>
            </a:extLst>
          </p:cNvPr>
          <p:cNvGrpSpPr/>
          <p:nvPr/>
        </p:nvGrpSpPr>
        <p:grpSpPr>
          <a:xfrm>
            <a:off x="437775" y="228723"/>
            <a:ext cx="7002908" cy="809687"/>
            <a:chOff x="437775" y="228723"/>
            <a:chExt cx="7002908" cy="809687"/>
          </a:xfrm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820119F4-E7EF-C246-841E-6F5463756E59}"/>
                </a:ext>
              </a:extLst>
            </p:cNvPr>
            <p:cNvSpPr txBox="1"/>
            <p:nvPr/>
          </p:nvSpPr>
          <p:spPr>
            <a:xfrm>
              <a:off x="437775" y="228723"/>
              <a:ext cx="7002908" cy="44133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defPPr>
              <a:lvl1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2800">
                  <a:solidFill>
                    <a:schemeClr val="dk1"/>
                  </a:solidFill>
                  <a:latin typeface="CiscoSansTT ExtraLight" panose="020B0303020201020303" pitchFamily="34" charset="0"/>
                  <a:cs typeface="CiscoSansTT ExtraLight" panose="020B0303020201020303" pitchFamily="34" charset="0"/>
                </a:defRPr>
              </a:lvl1pPr>
              <a:lvl2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2pPr>
              <a:lvl3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3pPr>
              <a:lvl4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4pPr>
              <a:lvl5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5pPr>
              <a:lvl6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6pPr>
              <a:lvl7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7pPr>
              <a:lvl8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8pPr>
              <a:lvl9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Arial"/>
                <a:buNone/>
                <a:tabLst/>
                <a:defRPr/>
              </a:pPr>
              <a:r>
                <a:rPr lang="en-US" sz="2400" dirty="0">
                  <a:solidFill>
                    <a:srgbClr val="FFFFFF"/>
                  </a:solidFill>
                  <a:cs typeface="CiscoSansTT" panose="020B0503020201020303" pitchFamily="34" charset="0"/>
                </a:rPr>
                <a:t>Application Connectivity with Service Mesh</a:t>
              </a:r>
              <a:endPara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cs typeface="CiscoSansTT" panose="020B0503020201020303" pitchFamily="34" charset="0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Arial"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sym typeface="Arial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EA0B64AC-EEC4-D54E-8BAC-0287A8F51B0B}"/>
                </a:ext>
              </a:extLst>
            </p:cNvPr>
            <p:cNvSpPr txBox="1"/>
            <p:nvPr/>
          </p:nvSpPr>
          <p:spPr>
            <a:xfrm>
              <a:off x="437775" y="597071"/>
              <a:ext cx="7002908" cy="44133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defPPr>
              <a:lvl1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2800">
                  <a:solidFill>
                    <a:schemeClr val="dk1"/>
                  </a:solidFill>
                  <a:latin typeface="CiscoSansTT ExtraLight" panose="020B0303020201020303" pitchFamily="34" charset="0"/>
                  <a:cs typeface="CiscoSansTT ExtraLight" panose="020B0303020201020303" pitchFamily="34" charset="0"/>
                </a:defRPr>
              </a:lvl1pPr>
              <a:lvl2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2pPr>
              <a:lvl3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3pPr>
              <a:lvl4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4pPr>
              <a:lvl5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5pPr>
              <a:lvl6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6pPr>
              <a:lvl7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7pPr>
              <a:lvl8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8pPr>
              <a:lvl9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9pPr>
            </a:lstStyle>
            <a:p>
              <a:pPr marL="8335" marR="0" lvl="0" indent="0" algn="l" defTabSz="914400" rtl="0" eaLnBrk="1" fontAlgn="auto" latinLnBrk="0" hangingPunct="1">
                <a:lnSpc>
                  <a:spcPct val="95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EB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Application Example:</a:t>
              </a:r>
            </a:p>
            <a:p>
              <a:pPr marL="8335" marR="0" lvl="0" indent="0" algn="l" defTabSz="914400" rtl="0" eaLnBrk="1" fontAlgn="auto" latinLnBrk="0" hangingPunct="1">
                <a:lnSpc>
                  <a:spcPct val="95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 panose="020B0303020201020303" pitchFamily="34" charset="0"/>
                  <a:sym typeface="Arial"/>
                </a:rPr>
                <a:t>Contactless cash withdrawal at local ATM</a:t>
              </a:r>
            </a:p>
          </p:txBody>
        </p:sp>
      </p:grpSp>
      <p:sp>
        <p:nvSpPr>
          <p:cNvPr id="94" name="Rounded Rectangle 93">
            <a:extLst>
              <a:ext uri="{FF2B5EF4-FFF2-40B4-BE49-F238E27FC236}">
                <a16:creationId xmlns:a16="http://schemas.microsoft.com/office/drawing/2014/main" id="{DA61ED47-52A2-4A4F-8EF9-A388F21702B9}"/>
              </a:ext>
            </a:extLst>
          </p:cNvPr>
          <p:cNvSpPr/>
          <p:nvPr/>
        </p:nvSpPr>
        <p:spPr>
          <a:xfrm>
            <a:off x="1115412" y="4002988"/>
            <a:ext cx="7629140" cy="543437"/>
          </a:xfrm>
          <a:prstGeom prst="roundRect">
            <a:avLst>
              <a:gd name="adj" fmla="val 3510"/>
            </a:avLst>
          </a:prstGeom>
          <a:gradFill>
            <a:gsLst>
              <a:gs pos="0">
                <a:schemeClr val="bg1">
                  <a:alpha val="2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0" rIns="91416" bIns="45708" rtlCol="0" anchor="t" anchorCtr="0"/>
          <a:lstStyle/>
          <a:p>
            <a:pPr marL="0" marR="0" lvl="0" indent="0" algn="ctr" defTabSz="914126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1. </a:t>
            </a:r>
            <a:r>
              <a:rPr lang="en-US" dirty="0">
                <a:solidFill>
                  <a:prstClr val="white"/>
                </a:solidFill>
                <a:latin typeface="Avenir Next" panose="020B0503020202020204" pitchFamily="34" charset="0"/>
              </a:rPr>
              <a:t>Scale/Hybrid</a:t>
            </a: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    </a:t>
            </a: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2. </a:t>
            </a:r>
            <a:r>
              <a:rPr lang="en-US" dirty="0">
                <a:solidFill>
                  <a:prstClr val="white"/>
                </a:solidFill>
                <a:latin typeface="Avenir Next" panose="020B0503020202020204" pitchFamily="34" charset="0"/>
              </a:rPr>
              <a:t>Secure Connectivity (mTLS)  </a:t>
            </a: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3. </a:t>
            </a:r>
            <a:r>
              <a:rPr lang="en-US" dirty="0">
                <a:solidFill>
                  <a:prstClr val="white"/>
                </a:solidFill>
                <a:latin typeface="Avenir Next" panose="020B0503020202020204" pitchFamily="34" charset="0"/>
              </a:rPr>
              <a:t>Traffic Management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+mn-cs"/>
              <a:sym typeface="Arial"/>
            </a:endParaRPr>
          </a:p>
          <a:p>
            <a:pPr marL="0" marR="0" lvl="0" indent="0" algn="ctr" defTabSz="914126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F2DDDCCA-A7FF-46D6-92BF-47E1CF7FDD10}"/>
              </a:ext>
            </a:extLst>
          </p:cNvPr>
          <p:cNvSpPr/>
          <p:nvPr/>
        </p:nvSpPr>
        <p:spPr>
          <a:xfrm>
            <a:off x="1719407" y="4354220"/>
            <a:ext cx="6554089" cy="543437"/>
          </a:xfrm>
          <a:prstGeom prst="roundRect">
            <a:avLst>
              <a:gd name="adj" fmla="val 3510"/>
            </a:avLst>
          </a:prstGeom>
          <a:gradFill>
            <a:gsLst>
              <a:gs pos="0">
                <a:schemeClr val="bg1">
                  <a:alpha val="2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0" rIns="91416" bIns="45708" rtlCol="0" anchor="t" anchorCtr="0"/>
          <a:lstStyle/>
          <a:p>
            <a:pPr marL="0" marR="0" lvl="0" indent="0" algn="ctr" defTabSz="914126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>
                <a:solidFill>
                  <a:srgbClr val="00BCEB"/>
                </a:solidFill>
                <a:latin typeface="Avenir Next" panose="020B0503020202020204" pitchFamily="34" charset="0"/>
              </a:rPr>
              <a:t>4</a:t>
            </a: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. </a:t>
            </a:r>
            <a:r>
              <a:rPr lang="en-US" dirty="0">
                <a:solidFill>
                  <a:prstClr val="white"/>
                </a:solidFill>
                <a:latin typeface="Avenir Next" panose="020B0503020202020204" pitchFamily="34" charset="0"/>
              </a:rPr>
              <a:t>Observability  </a:t>
            </a:r>
            <a:r>
              <a:rPr lang="en-US" dirty="0">
                <a:solidFill>
                  <a:srgbClr val="00BCEB"/>
                </a:solidFill>
                <a:latin typeface="Avenir Next" panose="020B0503020202020204" pitchFamily="34" charset="0"/>
              </a:rPr>
              <a:t>5</a:t>
            </a: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. </a:t>
            </a:r>
            <a:r>
              <a:rPr lang="en-US" dirty="0">
                <a:solidFill>
                  <a:prstClr val="white"/>
                </a:solidFill>
                <a:latin typeface="Avenir Next" panose="020B0503020202020204" pitchFamily="34" charset="0"/>
              </a:rPr>
              <a:t>Service Level Objectives  </a:t>
            </a:r>
            <a:r>
              <a:rPr lang="en-US" dirty="0">
                <a:solidFill>
                  <a:srgbClr val="00BCEB"/>
                </a:solidFill>
                <a:latin typeface="Avenir Next" panose="020B0503020202020204" pitchFamily="34" charset="0"/>
              </a:rPr>
              <a:t>6</a:t>
            </a: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. </a:t>
            </a:r>
            <a:r>
              <a:rPr lang="en-US" dirty="0">
                <a:solidFill>
                  <a:prstClr val="white"/>
                </a:solidFill>
                <a:latin typeface="Avenir Next" panose="020B0503020202020204" pitchFamily="34" charset="0"/>
              </a:rPr>
              <a:t>Synchronous/Async Apps</a:t>
            </a:r>
          </a:p>
          <a:p>
            <a:pPr marL="0" marR="0" lvl="0" indent="0" algn="ctr" defTabSz="914126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>
                <a:solidFill>
                  <a:srgbClr val="00BCEB"/>
                </a:solidFill>
                <a:latin typeface="Avenir Next" panose="020B0503020202020204" pitchFamily="34" charset="0"/>
              </a:rPr>
              <a:t>7.</a:t>
            </a:r>
            <a:r>
              <a:rPr lang="en-US" dirty="0">
                <a:solidFill>
                  <a:prstClr val="white"/>
                </a:solidFill>
                <a:latin typeface="Avenir Next" panose="020B0503020202020204" pitchFamily="34" charset="0"/>
              </a:rPr>
              <a:t> Operator Managed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+mn-cs"/>
              <a:sym typeface="Arial"/>
            </a:endParaRPr>
          </a:p>
          <a:p>
            <a:pPr marL="0" marR="0" lvl="0" indent="0" algn="ctr" defTabSz="914126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3B94C26-E377-D8C8-5C67-5184AF4770EB}"/>
              </a:ext>
            </a:extLst>
          </p:cNvPr>
          <p:cNvSpPr txBox="1"/>
          <p:nvPr/>
        </p:nvSpPr>
        <p:spPr>
          <a:xfrm>
            <a:off x="734734" y="3523913"/>
            <a:ext cx="926857" cy="309637"/>
          </a:xfrm>
          <a:prstGeom prst="rect">
            <a:avLst/>
          </a:prstGeom>
        </p:spPr>
        <p:txBody>
          <a:bodyPr wrap="non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r" defTabSz="914400" eaLnBrk="1" fontAlgn="auto" latinLnBrk="0" hangingPunct="1">
              <a:lnSpc>
                <a:spcPct val="150000"/>
              </a:lnSpc>
              <a:buSzTx/>
              <a:buNone/>
              <a:tabLst/>
              <a:defRPr kumimoji="0" sz="1050" b="1" kern="0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r>
              <a:rPr lang="en-FR" dirty="0"/>
              <a:t>Service Mesh</a:t>
            </a:r>
          </a:p>
        </p:txBody>
      </p:sp>
      <p:sp>
        <p:nvSpPr>
          <p:cNvPr id="7" name="Shape">
            <a:extLst>
              <a:ext uri="{FF2B5EF4-FFF2-40B4-BE49-F238E27FC236}">
                <a16:creationId xmlns:a16="http://schemas.microsoft.com/office/drawing/2014/main" id="{0C30B07F-12A3-B069-8F23-C81D7F49CD93}"/>
              </a:ext>
            </a:extLst>
          </p:cNvPr>
          <p:cNvSpPr>
            <a:spLocks noChangeAspect="1"/>
          </p:cNvSpPr>
          <p:nvPr/>
        </p:nvSpPr>
        <p:spPr>
          <a:xfrm>
            <a:off x="2704994" y="3763329"/>
            <a:ext cx="115189" cy="1391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339" y="7209"/>
                </a:moveTo>
                <a:cubicBezTo>
                  <a:pt x="4339" y="4212"/>
                  <a:pt x="7222" y="1809"/>
                  <a:pt x="10816" y="1809"/>
                </a:cubicBezTo>
                <a:cubicBezTo>
                  <a:pt x="14378" y="1809"/>
                  <a:pt x="17293" y="4212"/>
                  <a:pt x="17293" y="7209"/>
                </a:cubicBezTo>
                <a:lnTo>
                  <a:pt x="17293" y="9909"/>
                </a:lnTo>
                <a:lnTo>
                  <a:pt x="4339" y="9909"/>
                </a:lnTo>
                <a:lnTo>
                  <a:pt x="4339" y="7209"/>
                </a:lnTo>
                <a:close/>
                <a:moveTo>
                  <a:pt x="19430" y="9909"/>
                </a:moveTo>
                <a:lnTo>
                  <a:pt x="19430" y="7209"/>
                </a:lnTo>
                <a:cubicBezTo>
                  <a:pt x="19430" y="3240"/>
                  <a:pt x="15544" y="0"/>
                  <a:pt x="10816" y="0"/>
                </a:cubicBezTo>
                <a:cubicBezTo>
                  <a:pt x="6056" y="0"/>
                  <a:pt x="2170" y="3240"/>
                  <a:pt x="2170" y="7209"/>
                </a:cubicBezTo>
                <a:lnTo>
                  <a:pt x="2170" y="9909"/>
                </a:lnTo>
                <a:lnTo>
                  <a:pt x="0" y="9909"/>
                </a:lnTo>
                <a:lnTo>
                  <a:pt x="0" y="20682"/>
                </a:lnTo>
                <a:cubicBezTo>
                  <a:pt x="0" y="21195"/>
                  <a:pt x="486" y="21600"/>
                  <a:pt x="1101" y="21600"/>
                </a:cubicBezTo>
                <a:lnTo>
                  <a:pt x="20531" y="21600"/>
                </a:lnTo>
                <a:cubicBezTo>
                  <a:pt x="21114" y="21600"/>
                  <a:pt x="21600" y="21195"/>
                  <a:pt x="21600" y="20682"/>
                </a:cubicBezTo>
                <a:lnTo>
                  <a:pt x="21600" y="9909"/>
                </a:lnTo>
                <a:lnTo>
                  <a:pt x="19430" y="9909"/>
                </a:lnTo>
                <a:close/>
              </a:path>
            </a:pathLst>
          </a:custGeom>
          <a:solidFill>
            <a:srgbClr val="FBAB2C"/>
          </a:solidFill>
          <a:ln w="12700">
            <a:noFill/>
            <a:miter lim="400000"/>
          </a:ln>
        </p:spPr>
        <p:txBody>
          <a:bodyPr lIns="45695" rIns="45695"/>
          <a:lstStyle/>
          <a:p>
            <a:pPr marL="0" marR="0" lvl="0" indent="0" algn="l" defTabSz="685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sz="1300">
                <a:latin typeface="CiscoSansTT ExtraLight"/>
                <a:ea typeface="CiscoSansTT ExtraLight"/>
                <a:cs typeface="CiscoSansTT ExtraLight"/>
                <a:sym typeface="CiscoSansTT ExtraLight"/>
              </a:defRPr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" panose="020B0503020202020204" pitchFamily="34" charset="0"/>
              <a:ea typeface="CiscoSansTT ExtraLight"/>
              <a:cs typeface="CiscoSansTT" panose="020B0503020201020303" pitchFamily="34" charset="0"/>
              <a:sym typeface="CiscoSansTT ExtraLight"/>
            </a:endParaRPr>
          </a:p>
        </p:txBody>
      </p:sp>
      <p:sp>
        <p:nvSpPr>
          <p:cNvPr id="8" name="Shape">
            <a:extLst>
              <a:ext uri="{FF2B5EF4-FFF2-40B4-BE49-F238E27FC236}">
                <a16:creationId xmlns:a16="http://schemas.microsoft.com/office/drawing/2014/main" id="{1049B492-C83C-7BB5-05A7-B8778EE48CF5}"/>
              </a:ext>
            </a:extLst>
          </p:cNvPr>
          <p:cNvSpPr>
            <a:spLocks noChangeAspect="1"/>
          </p:cNvSpPr>
          <p:nvPr/>
        </p:nvSpPr>
        <p:spPr>
          <a:xfrm>
            <a:off x="3919323" y="3763329"/>
            <a:ext cx="115189" cy="1391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339" y="7209"/>
                </a:moveTo>
                <a:cubicBezTo>
                  <a:pt x="4339" y="4212"/>
                  <a:pt x="7222" y="1809"/>
                  <a:pt x="10816" y="1809"/>
                </a:cubicBezTo>
                <a:cubicBezTo>
                  <a:pt x="14378" y="1809"/>
                  <a:pt x="17293" y="4212"/>
                  <a:pt x="17293" y="7209"/>
                </a:cubicBezTo>
                <a:lnTo>
                  <a:pt x="17293" y="9909"/>
                </a:lnTo>
                <a:lnTo>
                  <a:pt x="4339" y="9909"/>
                </a:lnTo>
                <a:lnTo>
                  <a:pt x="4339" y="7209"/>
                </a:lnTo>
                <a:close/>
                <a:moveTo>
                  <a:pt x="19430" y="9909"/>
                </a:moveTo>
                <a:lnTo>
                  <a:pt x="19430" y="7209"/>
                </a:lnTo>
                <a:cubicBezTo>
                  <a:pt x="19430" y="3240"/>
                  <a:pt x="15544" y="0"/>
                  <a:pt x="10816" y="0"/>
                </a:cubicBezTo>
                <a:cubicBezTo>
                  <a:pt x="6056" y="0"/>
                  <a:pt x="2170" y="3240"/>
                  <a:pt x="2170" y="7209"/>
                </a:cubicBezTo>
                <a:lnTo>
                  <a:pt x="2170" y="9909"/>
                </a:lnTo>
                <a:lnTo>
                  <a:pt x="0" y="9909"/>
                </a:lnTo>
                <a:lnTo>
                  <a:pt x="0" y="20682"/>
                </a:lnTo>
                <a:cubicBezTo>
                  <a:pt x="0" y="21195"/>
                  <a:pt x="486" y="21600"/>
                  <a:pt x="1101" y="21600"/>
                </a:cubicBezTo>
                <a:lnTo>
                  <a:pt x="20531" y="21600"/>
                </a:lnTo>
                <a:cubicBezTo>
                  <a:pt x="21114" y="21600"/>
                  <a:pt x="21600" y="21195"/>
                  <a:pt x="21600" y="20682"/>
                </a:cubicBezTo>
                <a:lnTo>
                  <a:pt x="21600" y="9909"/>
                </a:lnTo>
                <a:lnTo>
                  <a:pt x="19430" y="9909"/>
                </a:lnTo>
                <a:close/>
              </a:path>
            </a:pathLst>
          </a:custGeom>
          <a:solidFill>
            <a:srgbClr val="FBAB2C"/>
          </a:solidFill>
          <a:ln w="12700">
            <a:noFill/>
            <a:miter lim="400000"/>
          </a:ln>
        </p:spPr>
        <p:txBody>
          <a:bodyPr lIns="45695" rIns="45695"/>
          <a:lstStyle/>
          <a:p>
            <a:pPr marL="0" marR="0" lvl="0" indent="0" algn="l" defTabSz="685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sz="1300">
                <a:latin typeface="CiscoSansTT ExtraLight"/>
                <a:ea typeface="CiscoSansTT ExtraLight"/>
                <a:cs typeface="CiscoSansTT ExtraLight"/>
                <a:sym typeface="CiscoSansTT ExtraLight"/>
              </a:defRPr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" panose="020B0503020202020204" pitchFamily="34" charset="0"/>
              <a:ea typeface="CiscoSansTT ExtraLight"/>
              <a:cs typeface="CiscoSansTT" panose="020B0503020201020303" pitchFamily="34" charset="0"/>
              <a:sym typeface="CiscoSansTT ExtraLight"/>
            </a:endParaRPr>
          </a:p>
        </p:txBody>
      </p:sp>
      <p:sp>
        <p:nvSpPr>
          <p:cNvPr id="9" name="Shape">
            <a:extLst>
              <a:ext uri="{FF2B5EF4-FFF2-40B4-BE49-F238E27FC236}">
                <a16:creationId xmlns:a16="http://schemas.microsoft.com/office/drawing/2014/main" id="{FA50F2EC-EDB9-C4E1-B93B-EF74FB71059C}"/>
              </a:ext>
            </a:extLst>
          </p:cNvPr>
          <p:cNvSpPr>
            <a:spLocks noChangeAspect="1"/>
          </p:cNvSpPr>
          <p:nvPr/>
        </p:nvSpPr>
        <p:spPr>
          <a:xfrm>
            <a:off x="5134541" y="3763329"/>
            <a:ext cx="115189" cy="1391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339" y="7209"/>
                </a:moveTo>
                <a:cubicBezTo>
                  <a:pt x="4339" y="4212"/>
                  <a:pt x="7222" y="1809"/>
                  <a:pt x="10816" y="1809"/>
                </a:cubicBezTo>
                <a:cubicBezTo>
                  <a:pt x="14378" y="1809"/>
                  <a:pt x="17293" y="4212"/>
                  <a:pt x="17293" y="7209"/>
                </a:cubicBezTo>
                <a:lnTo>
                  <a:pt x="17293" y="9909"/>
                </a:lnTo>
                <a:lnTo>
                  <a:pt x="4339" y="9909"/>
                </a:lnTo>
                <a:lnTo>
                  <a:pt x="4339" y="7209"/>
                </a:lnTo>
                <a:close/>
                <a:moveTo>
                  <a:pt x="19430" y="9909"/>
                </a:moveTo>
                <a:lnTo>
                  <a:pt x="19430" y="7209"/>
                </a:lnTo>
                <a:cubicBezTo>
                  <a:pt x="19430" y="3240"/>
                  <a:pt x="15544" y="0"/>
                  <a:pt x="10816" y="0"/>
                </a:cubicBezTo>
                <a:cubicBezTo>
                  <a:pt x="6056" y="0"/>
                  <a:pt x="2170" y="3240"/>
                  <a:pt x="2170" y="7209"/>
                </a:cubicBezTo>
                <a:lnTo>
                  <a:pt x="2170" y="9909"/>
                </a:lnTo>
                <a:lnTo>
                  <a:pt x="0" y="9909"/>
                </a:lnTo>
                <a:lnTo>
                  <a:pt x="0" y="20682"/>
                </a:lnTo>
                <a:cubicBezTo>
                  <a:pt x="0" y="21195"/>
                  <a:pt x="486" y="21600"/>
                  <a:pt x="1101" y="21600"/>
                </a:cubicBezTo>
                <a:lnTo>
                  <a:pt x="20531" y="21600"/>
                </a:lnTo>
                <a:cubicBezTo>
                  <a:pt x="21114" y="21600"/>
                  <a:pt x="21600" y="21195"/>
                  <a:pt x="21600" y="20682"/>
                </a:cubicBezTo>
                <a:lnTo>
                  <a:pt x="21600" y="9909"/>
                </a:lnTo>
                <a:lnTo>
                  <a:pt x="19430" y="9909"/>
                </a:lnTo>
                <a:close/>
              </a:path>
            </a:pathLst>
          </a:custGeom>
          <a:solidFill>
            <a:srgbClr val="FBAB2C"/>
          </a:solidFill>
          <a:ln w="12700">
            <a:noFill/>
            <a:miter lim="400000"/>
          </a:ln>
        </p:spPr>
        <p:txBody>
          <a:bodyPr lIns="45695" rIns="45695"/>
          <a:lstStyle/>
          <a:p>
            <a:pPr marL="0" marR="0" lvl="0" indent="0" algn="l" defTabSz="685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sz="1300">
                <a:latin typeface="CiscoSansTT ExtraLight"/>
                <a:ea typeface="CiscoSansTT ExtraLight"/>
                <a:cs typeface="CiscoSansTT ExtraLight"/>
                <a:sym typeface="CiscoSansTT ExtraLight"/>
              </a:defRPr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" panose="020B0503020202020204" pitchFamily="34" charset="0"/>
              <a:ea typeface="CiscoSansTT ExtraLight"/>
              <a:cs typeface="CiscoSansTT" panose="020B0503020201020303" pitchFamily="34" charset="0"/>
              <a:sym typeface="CiscoSansTT ExtraLight"/>
            </a:endParaRPr>
          </a:p>
        </p:txBody>
      </p:sp>
      <p:sp>
        <p:nvSpPr>
          <p:cNvPr id="10" name="Shape">
            <a:extLst>
              <a:ext uri="{FF2B5EF4-FFF2-40B4-BE49-F238E27FC236}">
                <a16:creationId xmlns:a16="http://schemas.microsoft.com/office/drawing/2014/main" id="{90B6F443-46AD-E312-7737-B054F84EDA57}"/>
              </a:ext>
            </a:extLst>
          </p:cNvPr>
          <p:cNvSpPr>
            <a:spLocks noChangeAspect="1"/>
          </p:cNvSpPr>
          <p:nvPr/>
        </p:nvSpPr>
        <p:spPr>
          <a:xfrm>
            <a:off x="6400349" y="3763329"/>
            <a:ext cx="115189" cy="1391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339" y="7209"/>
                </a:moveTo>
                <a:cubicBezTo>
                  <a:pt x="4339" y="4212"/>
                  <a:pt x="7222" y="1809"/>
                  <a:pt x="10816" y="1809"/>
                </a:cubicBezTo>
                <a:cubicBezTo>
                  <a:pt x="14378" y="1809"/>
                  <a:pt x="17293" y="4212"/>
                  <a:pt x="17293" y="7209"/>
                </a:cubicBezTo>
                <a:lnTo>
                  <a:pt x="17293" y="9909"/>
                </a:lnTo>
                <a:lnTo>
                  <a:pt x="4339" y="9909"/>
                </a:lnTo>
                <a:lnTo>
                  <a:pt x="4339" y="7209"/>
                </a:lnTo>
                <a:close/>
                <a:moveTo>
                  <a:pt x="19430" y="9909"/>
                </a:moveTo>
                <a:lnTo>
                  <a:pt x="19430" y="7209"/>
                </a:lnTo>
                <a:cubicBezTo>
                  <a:pt x="19430" y="3240"/>
                  <a:pt x="15544" y="0"/>
                  <a:pt x="10816" y="0"/>
                </a:cubicBezTo>
                <a:cubicBezTo>
                  <a:pt x="6056" y="0"/>
                  <a:pt x="2170" y="3240"/>
                  <a:pt x="2170" y="7209"/>
                </a:cubicBezTo>
                <a:lnTo>
                  <a:pt x="2170" y="9909"/>
                </a:lnTo>
                <a:lnTo>
                  <a:pt x="0" y="9909"/>
                </a:lnTo>
                <a:lnTo>
                  <a:pt x="0" y="20682"/>
                </a:lnTo>
                <a:cubicBezTo>
                  <a:pt x="0" y="21195"/>
                  <a:pt x="486" y="21600"/>
                  <a:pt x="1101" y="21600"/>
                </a:cubicBezTo>
                <a:lnTo>
                  <a:pt x="20531" y="21600"/>
                </a:lnTo>
                <a:cubicBezTo>
                  <a:pt x="21114" y="21600"/>
                  <a:pt x="21600" y="21195"/>
                  <a:pt x="21600" y="20682"/>
                </a:cubicBezTo>
                <a:lnTo>
                  <a:pt x="21600" y="9909"/>
                </a:lnTo>
                <a:lnTo>
                  <a:pt x="19430" y="9909"/>
                </a:lnTo>
                <a:close/>
              </a:path>
            </a:pathLst>
          </a:custGeom>
          <a:solidFill>
            <a:srgbClr val="FBAB2C"/>
          </a:solidFill>
          <a:ln w="12700">
            <a:noFill/>
            <a:miter lim="400000"/>
          </a:ln>
        </p:spPr>
        <p:txBody>
          <a:bodyPr lIns="45695" rIns="45695"/>
          <a:lstStyle/>
          <a:p>
            <a:pPr marL="0" marR="0" lvl="0" indent="0" algn="l" defTabSz="685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sz="1300">
                <a:latin typeface="CiscoSansTT ExtraLight"/>
                <a:ea typeface="CiscoSansTT ExtraLight"/>
                <a:cs typeface="CiscoSansTT ExtraLight"/>
                <a:sym typeface="CiscoSansTT ExtraLight"/>
              </a:defRPr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" panose="020B0503020202020204" pitchFamily="34" charset="0"/>
              <a:ea typeface="CiscoSansTT ExtraLight"/>
              <a:cs typeface="CiscoSansTT" panose="020B0503020201020303" pitchFamily="34" charset="0"/>
              <a:sym typeface="CiscoSansTT ExtraLight"/>
            </a:endParaRPr>
          </a:p>
        </p:txBody>
      </p:sp>
      <p:sp>
        <p:nvSpPr>
          <p:cNvPr id="11" name="Shape">
            <a:extLst>
              <a:ext uri="{FF2B5EF4-FFF2-40B4-BE49-F238E27FC236}">
                <a16:creationId xmlns:a16="http://schemas.microsoft.com/office/drawing/2014/main" id="{517EAE1C-4ED4-0DE3-0F3C-E6F2A84E6329}"/>
              </a:ext>
            </a:extLst>
          </p:cNvPr>
          <p:cNvSpPr>
            <a:spLocks noChangeAspect="1"/>
          </p:cNvSpPr>
          <p:nvPr/>
        </p:nvSpPr>
        <p:spPr>
          <a:xfrm>
            <a:off x="7237074" y="3763329"/>
            <a:ext cx="115189" cy="1391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339" y="7209"/>
                </a:moveTo>
                <a:cubicBezTo>
                  <a:pt x="4339" y="4212"/>
                  <a:pt x="7222" y="1809"/>
                  <a:pt x="10816" y="1809"/>
                </a:cubicBezTo>
                <a:cubicBezTo>
                  <a:pt x="14378" y="1809"/>
                  <a:pt x="17293" y="4212"/>
                  <a:pt x="17293" y="7209"/>
                </a:cubicBezTo>
                <a:lnTo>
                  <a:pt x="17293" y="9909"/>
                </a:lnTo>
                <a:lnTo>
                  <a:pt x="4339" y="9909"/>
                </a:lnTo>
                <a:lnTo>
                  <a:pt x="4339" y="7209"/>
                </a:lnTo>
                <a:close/>
                <a:moveTo>
                  <a:pt x="19430" y="9909"/>
                </a:moveTo>
                <a:lnTo>
                  <a:pt x="19430" y="7209"/>
                </a:lnTo>
                <a:cubicBezTo>
                  <a:pt x="19430" y="3240"/>
                  <a:pt x="15544" y="0"/>
                  <a:pt x="10816" y="0"/>
                </a:cubicBezTo>
                <a:cubicBezTo>
                  <a:pt x="6056" y="0"/>
                  <a:pt x="2170" y="3240"/>
                  <a:pt x="2170" y="7209"/>
                </a:cubicBezTo>
                <a:lnTo>
                  <a:pt x="2170" y="9909"/>
                </a:lnTo>
                <a:lnTo>
                  <a:pt x="0" y="9909"/>
                </a:lnTo>
                <a:lnTo>
                  <a:pt x="0" y="20682"/>
                </a:lnTo>
                <a:cubicBezTo>
                  <a:pt x="0" y="21195"/>
                  <a:pt x="486" y="21600"/>
                  <a:pt x="1101" y="21600"/>
                </a:cubicBezTo>
                <a:lnTo>
                  <a:pt x="20531" y="21600"/>
                </a:lnTo>
                <a:cubicBezTo>
                  <a:pt x="21114" y="21600"/>
                  <a:pt x="21600" y="21195"/>
                  <a:pt x="21600" y="20682"/>
                </a:cubicBezTo>
                <a:lnTo>
                  <a:pt x="21600" y="9909"/>
                </a:lnTo>
                <a:lnTo>
                  <a:pt x="19430" y="9909"/>
                </a:lnTo>
                <a:close/>
              </a:path>
            </a:pathLst>
          </a:custGeom>
          <a:solidFill>
            <a:srgbClr val="FBAB2C"/>
          </a:solidFill>
          <a:ln w="12700">
            <a:noFill/>
            <a:miter lim="400000"/>
          </a:ln>
        </p:spPr>
        <p:txBody>
          <a:bodyPr lIns="45695" rIns="45695"/>
          <a:lstStyle/>
          <a:p>
            <a:pPr marL="0" marR="0" lvl="0" indent="0" algn="l" defTabSz="685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sz="1300">
                <a:latin typeface="CiscoSansTT ExtraLight"/>
                <a:ea typeface="CiscoSansTT ExtraLight"/>
                <a:cs typeface="CiscoSansTT ExtraLight"/>
                <a:sym typeface="CiscoSansTT ExtraLight"/>
              </a:defRPr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" panose="020B0503020202020204" pitchFamily="34" charset="0"/>
              <a:ea typeface="CiscoSansTT ExtraLight"/>
              <a:cs typeface="CiscoSansTT" panose="020B0503020201020303" pitchFamily="34" charset="0"/>
              <a:sym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3804278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7" name="Rounded Rectangle 1076">
            <a:extLst>
              <a:ext uri="{FF2B5EF4-FFF2-40B4-BE49-F238E27FC236}">
                <a16:creationId xmlns:a16="http://schemas.microsoft.com/office/drawing/2014/main" id="{C27B81C3-802B-7D74-2136-BD96BAE71D6A}"/>
              </a:ext>
            </a:extLst>
          </p:cNvPr>
          <p:cNvSpPr/>
          <p:nvPr/>
        </p:nvSpPr>
        <p:spPr>
          <a:xfrm>
            <a:off x="2045452" y="1780077"/>
            <a:ext cx="4918947" cy="2072596"/>
          </a:xfrm>
          <a:prstGeom prst="roundRect">
            <a:avLst>
              <a:gd name="adj" fmla="val 7231"/>
            </a:avLst>
          </a:prstGeom>
          <a:solidFill>
            <a:srgbClr val="0070C0">
              <a:alpha val="36000"/>
            </a:srgbClr>
          </a:solidFill>
          <a:ln w="22225" cap="rnd" cmpd="sng" algn="ctr">
            <a:solidFill>
              <a:srgbClr val="00B0F0"/>
            </a:solidFill>
            <a:prstDash val="sysDot"/>
          </a:ln>
          <a:effectLst/>
        </p:spPr>
        <p:txBody>
          <a:bodyPr lIns="38100" tIns="83820" rIns="38100" bIns="83820" rtlCol="0" anchor="ctr"/>
          <a:lstStyle/>
          <a:p>
            <a:pPr defTabSz="685800">
              <a:buClrTx/>
              <a:defRPr/>
            </a:pPr>
            <a:endParaRPr lang="en-US" sz="800" b="1" kern="1200" dirty="0">
              <a:solidFill>
                <a:schemeClr val="tx1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3BAF3E2D-139B-42F4-D08A-16C38B691E97}"/>
              </a:ext>
            </a:extLst>
          </p:cNvPr>
          <p:cNvSpPr/>
          <p:nvPr/>
        </p:nvSpPr>
        <p:spPr>
          <a:xfrm>
            <a:off x="2209662" y="3457882"/>
            <a:ext cx="1614309" cy="399322"/>
          </a:xfrm>
          <a:prstGeom prst="roundRect">
            <a:avLst>
              <a:gd name="adj" fmla="val 7231"/>
            </a:avLst>
          </a:prstGeom>
          <a:solidFill>
            <a:schemeClr val="bg2">
              <a:alpha val="27843"/>
            </a:schemeClr>
          </a:solidFill>
          <a:ln w="22225" cap="rnd" cmpd="sng" algn="ctr">
            <a:solidFill>
              <a:schemeClr val="bg2">
                <a:alpha val="91000"/>
              </a:schemeClr>
            </a:solidFill>
            <a:prstDash val="sysDot"/>
          </a:ln>
          <a:effectLst/>
        </p:spPr>
        <p:txBody>
          <a:bodyPr lIns="38100" tIns="83820" rIns="38100" bIns="83820" rtlCol="0" anchor="ctr"/>
          <a:lstStyle/>
          <a:p>
            <a:pPr>
              <a:buClrTx/>
            </a:pPr>
            <a:endParaRPr lang="en-US" sz="800" b="1" kern="1200" dirty="0">
              <a:solidFill>
                <a:schemeClr val="tx1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7C333F-5D2E-5F63-2403-D228CF8B3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FR" dirty="0"/>
              <a:t>Istio Service Mesh and API Security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EA19FC52-07AE-A358-3355-DD5D2311B659}"/>
              </a:ext>
            </a:extLst>
          </p:cNvPr>
          <p:cNvSpPr/>
          <p:nvPr/>
        </p:nvSpPr>
        <p:spPr>
          <a:xfrm>
            <a:off x="3340173" y="1871854"/>
            <a:ext cx="2867788" cy="238575"/>
          </a:xfrm>
          <a:prstGeom prst="roundRect">
            <a:avLst/>
          </a:prstGeom>
          <a:solidFill>
            <a:schemeClr val="tx1"/>
          </a:solidFill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lIns="38100" tIns="83820" rIns="38100" bIns="83820" rtlCol="0" anchor="ctr"/>
          <a:lstStyle/>
          <a:p>
            <a:pPr algn="ctr">
              <a:buClrTx/>
            </a:pPr>
            <a:r>
              <a:rPr lang="en-US" sz="1000" b="1" kern="1200" dirty="0">
                <a:solidFill>
                  <a:schemeClr val="bg1"/>
                </a:solidFill>
                <a:latin typeface="CiscoSansTT ExtraLight" panose="020B0303020201020303" pitchFamily="34" charset="0"/>
                <a:ea typeface="+mn-ea"/>
                <a:cs typeface="CiscoSansTT ExtraLight" panose="020B0303020201020303" pitchFamily="34" charset="0"/>
              </a:rPr>
              <a:t>Kubernetes Control Plan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A428275-E218-26A2-A6BC-08217AECDE44}"/>
              </a:ext>
            </a:extLst>
          </p:cNvPr>
          <p:cNvSpPr/>
          <p:nvPr/>
        </p:nvSpPr>
        <p:spPr>
          <a:xfrm>
            <a:off x="2214785" y="2405464"/>
            <a:ext cx="1614309" cy="1000388"/>
          </a:xfrm>
          <a:prstGeom prst="roundRect">
            <a:avLst>
              <a:gd name="adj" fmla="val 7231"/>
            </a:avLst>
          </a:prstGeom>
          <a:solidFill>
            <a:schemeClr val="bg2">
              <a:alpha val="27843"/>
            </a:schemeClr>
          </a:solidFill>
          <a:ln w="22225" cap="rnd" cmpd="sng" algn="ctr">
            <a:solidFill>
              <a:schemeClr val="bg2">
                <a:alpha val="91000"/>
              </a:schemeClr>
            </a:solidFill>
            <a:prstDash val="sysDot"/>
          </a:ln>
          <a:effectLst/>
        </p:spPr>
        <p:txBody>
          <a:bodyPr lIns="38100" tIns="83820" rIns="38100" bIns="83820" rtlCol="0" anchor="ctr"/>
          <a:lstStyle/>
          <a:p>
            <a:pPr>
              <a:buClrTx/>
            </a:pPr>
            <a:endParaRPr lang="en-US" sz="800" b="1" kern="1200" dirty="0">
              <a:solidFill>
                <a:schemeClr val="tx1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4CDFC584-1051-C055-D662-144AC4228506}"/>
              </a:ext>
            </a:extLst>
          </p:cNvPr>
          <p:cNvSpPr/>
          <p:nvPr/>
        </p:nvSpPr>
        <p:spPr>
          <a:xfrm>
            <a:off x="5745380" y="2539247"/>
            <a:ext cx="878490" cy="1302235"/>
          </a:xfrm>
          <a:prstGeom prst="roundRect">
            <a:avLst>
              <a:gd name="adj" fmla="val 7231"/>
            </a:avLst>
          </a:prstGeom>
          <a:solidFill>
            <a:schemeClr val="accent2">
              <a:alpha val="27843"/>
            </a:schemeClr>
          </a:solidFill>
          <a:ln w="22225" cap="rnd" cmpd="sng" algn="ctr">
            <a:solidFill>
              <a:schemeClr val="accent2">
                <a:alpha val="91000"/>
              </a:schemeClr>
            </a:solidFill>
            <a:prstDash val="sysDot"/>
          </a:ln>
          <a:effectLst/>
        </p:spPr>
        <p:txBody>
          <a:bodyPr lIns="38100" tIns="83820" rIns="38100" bIns="83820" rtlCol="0" anchor="ctr"/>
          <a:lstStyle/>
          <a:p>
            <a:pPr>
              <a:buClrTx/>
            </a:pPr>
            <a:endParaRPr lang="en-US" sz="800" b="1" kern="1200" dirty="0">
              <a:solidFill>
                <a:schemeClr val="tx1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27A29B9-C6D4-B487-46BF-4DCCBF60A919}"/>
              </a:ext>
            </a:extLst>
          </p:cNvPr>
          <p:cNvSpPr txBox="1"/>
          <p:nvPr/>
        </p:nvSpPr>
        <p:spPr>
          <a:xfrm>
            <a:off x="5718684" y="2522927"/>
            <a:ext cx="78739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solidFill>
                  <a:schemeClr val="tx1"/>
                </a:solidFill>
              </a:rPr>
              <a:t>A</a:t>
            </a:r>
            <a:r>
              <a:rPr lang="en-FR" sz="1000" dirty="0">
                <a:solidFill>
                  <a:schemeClr val="tx1"/>
                </a:solidFill>
              </a:rPr>
              <a:t>pp PODs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9469D2AB-569A-4D65-AA87-58506C3B2E18}"/>
              </a:ext>
            </a:extLst>
          </p:cNvPr>
          <p:cNvGrpSpPr/>
          <p:nvPr/>
        </p:nvGrpSpPr>
        <p:grpSpPr>
          <a:xfrm>
            <a:off x="2258080" y="2425554"/>
            <a:ext cx="1445276" cy="834593"/>
            <a:chOff x="3517438" y="4269752"/>
            <a:chExt cx="1445276" cy="834593"/>
          </a:xfrm>
        </p:grpSpPr>
        <p:pic>
          <p:nvPicPr>
            <p:cNvPr id="34" name="Picture 2">
              <a:extLst>
                <a:ext uri="{FF2B5EF4-FFF2-40B4-BE49-F238E27FC236}">
                  <a16:creationId xmlns:a16="http://schemas.microsoft.com/office/drawing/2014/main" id="{16DCA114-8AB6-C8F4-AE36-5AAAE4923EC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17438" y="4666195"/>
              <a:ext cx="450850" cy="438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D7CD50F9-B099-9828-89AF-59E1780A78BB}"/>
                </a:ext>
              </a:extLst>
            </p:cNvPr>
            <p:cNvSpPr txBox="1"/>
            <p:nvPr/>
          </p:nvSpPr>
          <p:spPr>
            <a:xfrm>
              <a:off x="3862355" y="4770473"/>
              <a:ext cx="83067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err="1">
                  <a:solidFill>
                    <a:schemeClr val="tx1"/>
                  </a:solidFill>
                </a:rPr>
                <a:t>api</a:t>
              </a:r>
              <a:r>
                <a:rPr lang="en-US" sz="1000" dirty="0">
                  <a:solidFill>
                    <a:schemeClr val="tx1"/>
                  </a:solidFill>
                </a:rPr>
                <a:t> security</a:t>
              </a:r>
              <a:endParaRPr lang="en-FR" sz="1000" dirty="0">
                <a:solidFill>
                  <a:schemeClr val="tx1"/>
                </a:solidFill>
              </a:endParaRPr>
            </a:p>
          </p:txBody>
        </p:sp>
        <p:pic>
          <p:nvPicPr>
            <p:cNvPr id="38" name="Picture 2">
              <a:extLst>
                <a:ext uri="{FF2B5EF4-FFF2-40B4-BE49-F238E27FC236}">
                  <a16:creationId xmlns:a16="http://schemas.microsoft.com/office/drawing/2014/main" id="{302934C3-22D3-9F54-5194-05CFBAF201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24228" y="4269752"/>
              <a:ext cx="450850" cy="438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32914F8-D76B-DA7D-A240-FF7E21D7F931}"/>
                </a:ext>
              </a:extLst>
            </p:cNvPr>
            <p:cNvSpPr txBox="1"/>
            <p:nvPr/>
          </p:nvSpPr>
          <p:spPr>
            <a:xfrm>
              <a:off x="3869145" y="4374030"/>
              <a:ext cx="109356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00" dirty="0">
                  <a:solidFill>
                    <a:schemeClr val="tx1"/>
                  </a:solidFill>
                </a:rPr>
                <a:t>admin controller</a:t>
              </a:r>
              <a:endParaRPr lang="en-FR" sz="10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ABC3C3E-CB7F-BE2A-FBF9-D4BADC430E19}"/>
              </a:ext>
            </a:extLst>
          </p:cNvPr>
          <p:cNvCxnSpPr/>
          <p:nvPr/>
        </p:nvCxnSpPr>
        <p:spPr>
          <a:xfrm flipV="1">
            <a:off x="4590020" y="2117279"/>
            <a:ext cx="0" cy="5342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4" name="Straight Arrow Connector 1023">
            <a:extLst>
              <a:ext uri="{FF2B5EF4-FFF2-40B4-BE49-F238E27FC236}">
                <a16:creationId xmlns:a16="http://schemas.microsoft.com/office/drawing/2014/main" id="{03D28731-B8C5-F7C6-4291-931F47295EC0}"/>
              </a:ext>
            </a:extLst>
          </p:cNvPr>
          <p:cNvCxnSpPr>
            <a:cxnSpLocks/>
            <a:endCxn id="39" idx="3"/>
          </p:cNvCxnSpPr>
          <p:nvPr/>
        </p:nvCxnSpPr>
        <p:spPr>
          <a:xfrm flipH="1">
            <a:off x="3703356" y="2652942"/>
            <a:ext cx="893514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5" name="TextBox 1024">
            <a:extLst>
              <a:ext uri="{FF2B5EF4-FFF2-40B4-BE49-F238E27FC236}">
                <a16:creationId xmlns:a16="http://schemas.microsoft.com/office/drawing/2014/main" id="{EE6B1907-21AC-8F77-791F-7B1895CC6049}"/>
              </a:ext>
            </a:extLst>
          </p:cNvPr>
          <p:cNvSpPr txBox="1"/>
          <p:nvPr/>
        </p:nvSpPr>
        <p:spPr>
          <a:xfrm>
            <a:off x="3835331" y="2416136"/>
            <a:ext cx="7585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FR" sz="1000" dirty="0">
                <a:solidFill>
                  <a:schemeClr val="tx1"/>
                </a:solidFill>
              </a:rPr>
              <a:t>webhooks</a:t>
            </a:r>
          </a:p>
        </p:txBody>
      </p:sp>
      <p:sp>
        <p:nvSpPr>
          <p:cNvPr id="1035" name="Rounded Rectangle 1034">
            <a:extLst>
              <a:ext uri="{FF2B5EF4-FFF2-40B4-BE49-F238E27FC236}">
                <a16:creationId xmlns:a16="http://schemas.microsoft.com/office/drawing/2014/main" id="{007F5CF3-94D8-0B62-1133-51756D63DDCD}"/>
              </a:ext>
            </a:extLst>
          </p:cNvPr>
          <p:cNvSpPr/>
          <p:nvPr/>
        </p:nvSpPr>
        <p:spPr>
          <a:xfrm>
            <a:off x="4776114" y="2539247"/>
            <a:ext cx="878490" cy="1278835"/>
          </a:xfrm>
          <a:prstGeom prst="roundRect">
            <a:avLst>
              <a:gd name="adj" fmla="val 7231"/>
            </a:avLst>
          </a:prstGeom>
          <a:solidFill>
            <a:schemeClr val="accent5">
              <a:alpha val="27843"/>
            </a:schemeClr>
          </a:solidFill>
          <a:ln w="22225" cap="rnd" cmpd="sng" algn="ctr">
            <a:solidFill>
              <a:schemeClr val="accent5">
                <a:alpha val="91000"/>
              </a:schemeClr>
            </a:solidFill>
            <a:prstDash val="sysDot"/>
          </a:ln>
          <a:effectLst/>
        </p:spPr>
        <p:txBody>
          <a:bodyPr lIns="38100" tIns="83820" rIns="38100" bIns="83820" rtlCol="0" anchor="ctr"/>
          <a:lstStyle/>
          <a:p>
            <a:pPr>
              <a:buClrTx/>
            </a:pPr>
            <a:endParaRPr lang="en-US" sz="800" b="1" kern="1200" dirty="0">
              <a:solidFill>
                <a:schemeClr val="tx1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1037" name="TextBox 1036">
            <a:extLst>
              <a:ext uri="{FF2B5EF4-FFF2-40B4-BE49-F238E27FC236}">
                <a16:creationId xmlns:a16="http://schemas.microsoft.com/office/drawing/2014/main" id="{788410DC-30D7-33A1-C75A-B8A233A81E0F}"/>
              </a:ext>
            </a:extLst>
          </p:cNvPr>
          <p:cNvSpPr txBox="1"/>
          <p:nvPr/>
        </p:nvSpPr>
        <p:spPr>
          <a:xfrm>
            <a:off x="4749418" y="2522927"/>
            <a:ext cx="78739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solidFill>
                  <a:schemeClr val="tx1"/>
                </a:solidFill>
              </a:rPr>
              <a:t>A</a:t>
            </a:r>
            <a:r>
              <a:rPr lang="en-FR" sz="1000" dirty="0">
                <a:solidFill>
                  <a:schemeClr val="tx1"/>
                </a:solidFill>
              </a:rPr>
              <a:t>pp PODs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63555DBA-894E-F97F-7207-4A62AF452C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4870" y="3434482"/>
            <a:ext cx="450850" cy="438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1712AD5-C774-CE4A-BD98-DBB191DF9170}"/>
              </a:ext>
            </a:extLst>
          </p:cNvPr>
          <p:cNvSpPr txBox="1"/>
          <p:nvPr/>
        </p:nvSpPr>
        <p:spPr>
          <a:xfrm>
            <a:off x="2609787" y="3538760"/>
            <a:ext cx="45397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solidFill>
                  <a:schemeClr val="tx1"/>
                </a:solidFill>
              </a:rPr>
              <a:t>vault</a:t>
            </a:r>
            <a:endParaRPr lang="en-FR" sz="1000" dirty="0">
              <a:solidFill>
                <a:schemeClr val="tx1"/>
              </a:solidFill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0A605223-1C58-65DE-A0A6-5B9C687242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079" y="1517611"/>
            <a:ext cx="711068" cy="69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0CA833B3-5FD0-76C8-B321-1510441EABD4}"/>
              </a:ext>
            </a:extLst>
          </p:cNvPr>
          <p:cNvSpPr/>
          <p:nvPr/>
        </p:nvSpPr>
        <p:spPr>
          <a:xfrm>
            <a:off x="4968467" y="2219024"/>
            <a:ext cx="1441370" cy="238575"/>
          </a:xfrm>
          <a:prstGeom prst="roundRect">
            <a:avLst/>
          </a:prstGeom>
          <a:solidFill>
            <a:schemeClr val="tx1"/>
          </a:solidFill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lIns="38100" tIns="83820" rIns="38100" bIns="83820" rtlCol="0" anchor="ctr"/>
          <a:lstStyle/>
          <a:p>
            <a:pPr algn="ctr">
              <a:buClrTx/>
            </a:pPr>
            <a:r>
              <a:rPr lang="en-US" sz="1000" b="1" kern="1200" dirty="0">
                <a:solidFill>
                  <a:schemeClr val="bg1"/>
                </a:solidFill>
                <a:latin typeface="CiscoSansTT ExtraLight" panose="020B0303020201020303" pitchFamily="34" charset="0"/>
                <a:ea typeface="+mn-ea"/>
                <a:cs typeface="CiscoSansTT ExtraLight" panose="020B0303020201020303" pitchFamily="34" charset="0"/>
              </a:rPr>
              <a:t>Istio Control Plan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ECFF50B-1A21-9BF6-8A45-294B42526376}"/>
              </a:ext>
            </a:extLst>
          </p:cNvPr>
          <p:cNvGrpSpPr/>
          <p:nvPr/>
        </p:nvGrpSpPr>
        <p:grpSpPr>
          <a:xfrm>
            <a:off x="4740087" y="2714168"/>
            <a:ext cx="659961" cy="550325"/>
            <a:chOff x="7680495" y="2249771"/>
            <a:chExt cx="880687" cy="697574"/>
          </a:xfrm>
        </p:grpSpPr>
        <p:pic>
          <p:nvPicPr>
            <p:cNvPr id="2056" name="Picture 8">
              <a:extLst>
                <a:ext uri="{FF2B5EF4-FFF2-40B4-BE49-F238E27FC236}">
                  <a16:creationId xmlns:a16="http://schemas.microsoft.com/office/drawing/2014/main" id="{C6A495F3-546E-8DCA-EF93-368C1D917E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80495" y="2249771"/>
              <a:ext cx="880687" cy="6975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4" name="Picture 6" descr="Envoy Proxy">
              <a:extLst>
                <a:ext uri="{FF2B5EF4-FFF2-40B4-BE49-F238E27FC236}">
                  <a16:creationId xmlns:a16="http://schemas.microsoft.com/office/drawing/2014/main" id="{7E26CFBC-2816-8417-0CD2-6A1B2BB1BE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1052" y="2639733"/>
              <a:ext cx="204589" cy="1635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8" name="Picture 10">
              <a:extLst>
                <a:ext uri="{FF2B5EF4-FFF2-40B4-BE49-F238E27FC236}">
                  <a16:creationId xmlns:a16="http://schemas.microsoft.com/office/drawing/2014/main" id="{2D1D7099-9597-3A78-C9B8-A05D520AC1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3863" y="2345733"/>
              <a:ext cx="333952" cy="3245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FE9593E-033F-1780-1CBE-ABA00B20641C}"/>
              </a:ext>
            </a:extLst>
          </p:cNvPr>
          <p:cNvGrpSpPr/>
          <p:nvPr/>
        </p:nvGrpSpPr>
        <p:grpSpPr>
          <a:xfrm>
            <a:off x="4892487" y="2866568"/>
            <a:ext cx="659961" cy="550325"/>
            <a:chOff x="7680495" y="2249771"/>
            <a:chExt cx="880687" cy="697574"/>
          </a:xfrm>
        </p:grpSpPr>
        <p:pic>
          <p:nvPicPr>
            <p:cNvPr id="15" name="Picture 8">
              <a:extLst>
                <a:ext uri="{FF2B5EF4-FFF2-40B4-BE49-F238E27FC236}">
                  <a16:creationId xmlns:a16="http://schemas.microsoft.com/office/drawing/2014/main" id="{54547CF3-5D5E-7331-BF4E-C331919748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80495" y="2249771"/>
              <a:ext cx="880687" cy="6975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6" descr="Envoy Proxy">
              <a:extLst>
                <a:ext uri="{FF2B5EF4-FFF2-40B4-BE49-F238E27FC236}">
                  <a16:creationId xmlns:a16="http://schemas.microsoft.com/office/drawing/2014/main" id="{DE2729E0-9D0B-89F3-56CE-3078050657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1052" y="2639733"/>
              <a:ext cx="204589" cy="1635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0">
              <a:extLst>
                <a:ext uri="{FF2B5EF4-FFF2-40B4-BE49-F238E27FC236}">
                  <a16:creationId xmlns:a16="http://schemas.microsoft.com/office/drawing/2014/main" id="{81068DDA-C14C-0FAC-0691-16F1DB30547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3863" y="2345733"/>
              <a:ext cx="333952" cy="3245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1694D24-B23C-999B-6D7D-2EE19A4FD6A1}"/>
              </a:ext>
            </a:extLst>
          </p:cNvPr>
          <p:cNvGrpSpPr/>
          <p:nvPr/>
        </p:nvGrpSpPr>
        <p:grpSpPr>
          <a:xfrm>
            <a:off x="5044887" y="3018968"/>
            <a:ext cx="659961" cy="550325"/>
            <a:chOff x="7680495" y="2249771"/>
            <a:chExt cx="880687" cy="697574"/>
          </a:xfrm>
        </p:grpSpPr>
        <p:pic>
          <p:nvPicPr>
            <p:cNvPr id="19" name="Picture 8">
              <a:extLst>
                <a:ext uri="{FF2B5EF4-FFF2-40B4-BE49-F238E27FC236}">
                  <a16:creationId xmlns:a16="http://schemas.microsoft.com/office/drawing/2014/main" id="{210D4B5A-EEF7-8885-6931-3361A4DF8D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80495" y="2249771"/>
              <a:ext cx="880687" cy="6975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6" descr="Envoy Proxy">
              <a:extLst>
                <a:ext uri="{FF2B5EF4-FFF2-40B4-BE49-F238E27FC236}">
                  <a16:creationId xmlns:a16="http://schemas.microsoft.com/office/drawing/2014/main" id="{D31739FB-05EF-01DB-B99F-B83279690C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1052" y="2639733"/>
              <a:ext cx="204589" cy="1635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10">
              <a:extLst>
                <a:ext uri="{FF2B5EF4-FFF2-40B4-BE49-F238E27FC236}">
                  <a16:creationId xmlns:a16="http://schemas.microsoft.com/office/drawing/2014/main" id="{D403C34C-92A4-CAFD-CFD7-173FAC86E0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3863" y="2345733"/>
              <a:ext cx="333952" cy="3245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293A121-B231-F105-6972-AAECE25D91EF}"/>
              </a:ext>
            </a:extLst>
          </p:cNvPr>
          <p:cNvGrpSpPr/>
          <p:nvPr/>
        </p:nvGrpSpPr>
        <p:grpSpPr>
          <a:xfrm>
            <a:off x="5712447" y="2707960"/>
            <a:ext cx="659961" cy="550325"/>
            <a:chOff x="7680495" y="2249771"/>
            <a:chExt cx="880687" cy="697574"/>
          </a:xfrm>
        </p:grpSpPr>
        <p:pic>
          <p:nvPicPr>
            <p:cNvPr id="23" name="Picture 8">
              <a:extLst>
                <a:ext uri="{FF2B5EF4-FFF2-40B4-BE49-F238E27FC236}">
                  <a16:creationId xmlns:a16="http://schemas.microsoft.com/office/drawing/2014/main" id="{9516EC8F-42DD-504D-6671-0352E979B7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80495" y="2249771"/>
              <a:ext cx="880687" cy="6975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0">
              <a:extLst>
                <a:ext uri="{FF2B5EF4-FFF2-40B4-BE49-F238E27FC236}">
                  <a16:creationId xmlns:a16="http://schemas.microsoft.com/office/drawing/2014/main" id="{07B288F0-BD9A-ACAB-83E7-BF9486396A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3863" y="2345733"/>
              <a:ext cx="333952" cy="3245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6" descr="Envoy Proxy">
              <a:extLst>
                <a:ext uri="{FF2B5EF4-FFF2-40B4-BE49-F238E27FC236}">
                  <a16:creationId xmlns:a16="http://schemas.microsoft.com/office/drawing/2014/main" id="{89499CC8-852F-95EF-66DD-D4FD238DC3B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1052" y="2639733"/>
              <a:ext cx="204589" cy="1635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6D89E386-0DDD-69F7-1CA0-BD52EB116159}"/>
              </a:ext>
            </a:extLst>
          </p:cNvPr>
          <p:cNvGrpSpPr/>
          <p:nvPr/>
        </p:nvGrpSpPr>
        <p:grpSpPr>
          <a:xfrm>
            <a:off x="5852629" y="2866568"/>
            <a:ext cx="659961" cy="550325"/>
            <a:chOff x="7680495" y="2249771"/>
            <a:chExt cx="880687" cy="697574"/>
          </a:xfrm>
        </p:grpSpPr>
        <p:pic>
          <p:nvPicPr>
            <p:cNvPr id="48" name="Picture 8">
              <a:extLst>
                <a:ext uri="{FF2B5EF4-FFF2-40B4-BE49-F238E27FC236}">
                  <a16:creationId xmlns:a16="http://schemas.microsoft.com/office/drawing/2014/main" id="{13852CF2-503E-BD58-3929-1B20218EBB2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80495" y="2249771"/>
              <a:ext cx="880687" cy="6975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6" descr="Envoy Proxy">
              <a:extLst>
                <a:ext uri="{FF2B5EF4-FFF2-40B4-BE49-F238E27FC236}">
                  <a16:creationId xmlns:a16="http://schemas.microsoft.com/office/drawing/2014/main" id="{3AC2402E-BB3A-8D47-895D-3F595E98B6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1052" y="2639733"/>
              <a:ext cx="204589" cy="1635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10">
              <a:extLst>
                <a:ext uri="{FF2B5EF4-FFF2-40B4-BE49-F238E27FC236}">
                  <a16:creationId xmlns:a16="http://schemas.microsoft.com/office/drawing/2014/main" id="{A75B7D66-5704-FAFD-E807-583C78D1E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3863" y="2345733"/>
              <a:ext cx="333952" cy="3245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DFAF0555-9C62-980D-3AF4-0FBB1EB11F8A}"/>
              </a:ext>
            </a:extLst>
          </p:cNvPr>
          <p:cNvGrpSpPr/>
          <p:nvPr/>
        </p:nvGrpSpPr>
        <p:grpSpPr>
          <a:xfrm>
            <a:off x="6005029" y="3018968"/>
            <a:ext cx="659961" cy="550325"/>
            <a:chOff x="7680495" y="2249771"/>
            <a:chExt cx="880687" cy="697574"/>
          </a:xfrm>
        </p:grpSpPr>
        <p:pic>
          <p:nvPicPr>
            <p:cNvPr id="52" name="Picture 8">
              <a:extLst>
                <a:ext uri="{FF2B5EF4-FFF2-40B4-BE49-F238E27FC236}">
                  <a16:creationId xmlns:a16="http://schemas.microsoft.com/office/drawing/2014/main" id="{F588ADE4-51F0-9FAB-2016-CA27766E1A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80495" y="2249771"/>
              <a:ext cx="880687" cy="6975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6" descr="Envoy Proxy">
              <a:extLst>
                <a:ext uri="{FF2B5EF4-FFF2-40B4-BE49-F238E27FC236}">
                  <a16:creationId xmlns:a16="http://schemas.microsoft.com/office/drawing/2014/main" id="{61006733-94B7-C76E-8131-7F65DB8122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1052" y="2639733"/>
              <a:ext cx="204589" cy="1635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5" name="Picture 10">
              <a:extLst>
                <a:ext uri="{FF2B5EF4-FFF2-40B4-BE49-F238E27FC236}">
                  <a16:creationId xmlns:a16="http://schemas.microsoft.com/office/drawing/2014/main" id="{C5E63456-1AD0-C3CB-ED1F-B18E2C3A6D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3863" y="2345733"/>
              <a:ext cx="333952" cy="3245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51" name="Group 1050">
            <a:extLst>
              <a:ext uri="{FF2B5EF4-FFF2-40B4-BE49-F238E27FC236}">
                <a16:creationId xmlns:a16="http://schemas.microsoft.com/office/drawing/2014/main" id="{DD3EEB26-52FB-EA43-6B27-2E0D1754B66D}"/>
              </a:ext>
            </a:extLst>
          </p:cNvPr>
          <p:cNvGrpSpPr/>
          <p:nvPr/>
        </p:nvGrpSpPr>
        <p:grpSpPr>
          <a:xfrm>
            <a:off x="5093485" y="3292100"/>
            <a:ext cx="242239" cy="260603"/>
            <a:chOff x="5655506" y="3756996"/>
            <a:chExt cx="242239" cy="260603"/>
          </a:xfrm>
        </p:grpSpPr>
        <p:cxnSp>
          <p:nvCxnSpPr>
            <p:cNvPr id="1032" name="Straight Connector 1031">
              <a:extLst>
                <a:ext uri="{FF2B5EF4-FFF2-40B4-BE49-F238E27FC236}">
                  <a16:creationId xmlns:a16="http://schemas.microsoft.com/office/drawing/2014/main" id="{AFA5A6C5-04DB-FC8F-9E81-D7D3746A0E22}"/>
                </a:ext>
              </a:extLst>
            </p:cNvPr>
            <p:cNvCxnSpPr>
              <a:cxnSpLocks/>
            </p:cNvCxnSpPr>
            <p:nvPr/>
          </p:nvCxnSpPr>
          <p:spPr>
            <a:xfrm>
              <a:off x="5656691" y="3839569"/>
              <a:ext cx="157675" cy="17500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0" name="Straight Connector 1039">
              <a:extLst>
                <a:ext uri="{FF2B5EF4-FFF2-40B4-BE49-F238E27FC236}">
                  <a16:creationId xmlns:a16="http://schemas.microsoft.com/office/drawing/2014/main" id="{2E29A5FF-9E83-5881-A5DB-3C79345261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13977" y="3923414"/>
              <a:ext cx="83768" cy="9418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Shape">
              <a:extLst>
                <a:ext uri="{FF2B5EF4-FFF2-40B4-BE49-F238E27FC236}">
                  <a16:creationId xmlns:a16="http://schemas.microsoft.com/office/drawing/2014/main" id="{66E8988D-022E-C3B1-2815-76AD9A0C342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89284" y="3874115"/>
              <a:ext cx="88096" cy="1064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339" y="7209"/>
                  </a:moveTo>
                  <a:cubicBezTo>
                    <a:pt x="4339" y="4212"/>
                    <a:pt x="7222" y="1809"/>
                    <a:pt x="10816" y="1809"/>
                  </a:cubicBezTo>
                  <a:cubicBezTo>
                    <a:pt x="14378" y="1809"/>
                    <a:pt x="17293" y="4212"/>
                    <a:pt x="17293" y="7209"/>
                  </a:cubicBezTo>
                  <a:lnTo>
                    <a:pt x="17293" y="9909"/>
                  </a:lnTo>
                  <a:lnTo>
                    <a:pt x="4339" y="9909"/>
                  </a:lnTo>
                  <a:lnTo>
                    <a:pt x="4339" y="7209"/>
                  </a:lnTo>
                  <a:close/>
                  <a:moveTo>
                    <a:pt x="19430" y="9909"/>
                  </a:moveTo>
                  <a:lnTo>
                    <a:pt x="19430" y="7209"/>
                  </a:lnTo>
                  <a:cubicBezTo>
                    <a:pt x="19430" y="3240"/>
                    <a:pt x="15544" y="0"/>
                    <a:pt x="10816" y="0"/>
                  </a:cubicBezTo>
                  <a:cubicBezTo>
                    <a:pt x="6056" y="0"/>
                    <a:pt x="2170" y="3240"/>
                    <a:pt x="2170" y="7209"/>
                  </a:cubicBezTo>
                  <a:lnTo>
                    <a:pt x="2170" y="9909"/>
                  </a:lnTo>
                  <a:lnTo>
                    <a:pt x="0" y="9909"/>
                  </a:lnTo>
                  <a:lnTo>
                    <a:pt x="0" y="20682"/>
                  </a:lnTo>
                  <a:cubicBezTo>
                    <a:pt x="0" y="21195"/>
                    <a:pt x="486" y="21600"/>
                    <a:pt x="1101" y="21600"/>
                  </a:cubicBezTo>
                  <a:lnTo>
                    <a:pt x="20531" y="21600"/>
                  </a:lnTo>
                  <a:cubicBezTo>
                    <a:pt x="21114" y="21600"/>
                    <a:pt x="21600" y="21195"/>
                    <a:pt x="21600" y="20682"/>
                  </a:cubicBezTo>
                  <a:lnTo>
                    <a:pt x="21600" y="9909"/>
                  </a:lnTo>
                  <a:lnTo>
                    <a:pt x="19430" y="9909"/>
                  </a:lnTo>
                  <a:close/>
                </a:path>
              </a:pathLst>
            </a:custGeom>
            <a:solidFill>
              <a:srgbClr val="FBAB2C"/>
            </a:solidFill>
            <a:ln w="12700">
              <a:noFill/>
              <a:miter lim="400000"/>
            </a:ln>
          </p:spPr>
          <p:txBody>
            <a:bodyPr lIns="45695" rIns="45695"/>
            <a:lstStyle/>
            <a:p>
              <a:pPr marL="0" marR="0" lvl="0" indent="0" algn="l" defTabSz="685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 sz="1300">
                  <a:latin typeface="CiscoSansTT ExtraLight"/>
                  <a:ea typeface="CiscoSansTT ExtraLight"/>
                  <a:cs typeface="CiscoSansTT ExtraLight"/>
                  <a:sym typeface="CiscoSansTT ExtraLight"/>
                </a:defRPr>
              </a:pPr>
              <a:endParaRPr kumimoji="0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" panose="020B0503020202020204" pitchFamily="34" charset="0"/>
                <a:ea typeface="CiscoSansTT ExtraLight"/>
                <a:cs typeface="CiscoSansTT" panose="020B0503020201020303" pitchFamily="34" charset="0"/>
                <a:sym typeface="CiscoSansTT ExtraLight"/>
              </a:endParaRPr>
            </a:p>
          </p:txBody>
        </p:sp>
        <p:cxnSp>
          <p:nvCxnSpPr>
            <p:cNvPr id="1043" name="Straight Connector 1042">
              <a:extLst>
                <a:ext uri="{FF2B5EF4-FFF2-40B4-BE49-F238E27FC236}">
                  <a16:creationId xmlns:a16="http://schemas.microsoft.com/office/drawing/2014/main" id="{070CF2C7-C478-2D8B-0401-C2A774CDC7D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55506" y="3756996"/>
              <a:ext cx="86683" cy="7983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52" name="Group 1051">
            <a:extLst>
              <a:ext uri="{FF2B5EF4-FFF2-40B4-BE49-F238E27FC236}">
                <a16:creationId xmlns:a16="http://schemas.microsoft.com/office/drawing/2014/main" id="{3F296744-5799-6FBA-86FB-DA3D0803B165}"/>
              </a:ext>
            </a:extLst>
          </p:cNvPr>
          <p:cNvGrpSpPr/>
          <p:nvPr/>
        </p:nvGrpSpPr>
        <p:grpSpPr>
          <a:xfrm>
            <a:off x="4914580" y="3101310"/>
            <a:ext cx="242239" cy="260603"/>
            <a:chOff x="5655506" y="3756996"/>
            <a:chExt cx="242239" cy="260603"/>
          </a:xfrm>
        </p:grpSpPr>
        <p:cxnSp>
          <p:nvCxnSpPr>
            <p:cNvPr id="1053" name="Straight Connector 1052">
              <a:extLst>
                <a:ext uri="{FF2B5EF4-FFF2-40B4-BE49-F238E27FC236}">
                  <a16:creationId xmlns:a16="http://schemas.microsoft.com/office/drawing/2014/main" id="{4B0861B0-54D8-71C7-7F8A-AB000741E3B6}"/>
                </a:ext>
              </a:extLst>
            </p:cNvPr>
            <p:cNvCxnSpPr>
              <a:cxnSpLocks/>
            </p:cNvCxnSpPr>
            <p:nvPr/>
          </p:nvCxnSpPr>
          <p:spPr>
            <a:xfrm>
              <a:off x="5656691" y="3839569"/>
              <a:ext cx="157675" cy="17500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4" name="Straight Connector 1053">
              <a:extLst>
                <a:ext uri="{FF2B5EF4-FFF2-40B4-BE49-F238E27FC236}">
                  <a16:creationId xmlns:a16="http://schemas.microsoft.com/office/drawing/2014/main" id="{18D41111-C16E-8DCB-27DE-CA02974C6BB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13977" y="3923414"/>
              <a:ext cx="83768" cy="9418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55" name="Shape">
              <a:extLst>
                <a:ext uri="{FF2B5EF4-FFF2-40B4-BE49-F238E27FC236}">
                  <a16:creationId xmlns:a16="http://schemas.microsoft.com/office/drawing/2014/main" id="{C2A9E6D4-FD1C-F063-1E56-45B64CE8ED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89284" y="3874115"/>
              <a:ext cx="88096" cy="1064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339" y="7209"/>
                  </a:moveTo>
                  <a:cubicBezTo>
                    <a:pt x="4339" y="4212"/>
                    <a:pt x="7222" y="1809"/>
                    <a:pt x="10816" y="1809"/>
                  </a:cubicBezTo>
                  <a:cubicBezTo>
                    <a:pt x="14378" y="1809"/>
                    <a:pt x="17293" y="4212"/>
                    <a:pt x="17293" y="7209"/>
                  </a:cubicBezTo>
                  <a:lnTo>
                    <a:pt x="17293" y="9909"/>
                  </a:lnTo>
                  <a:lnTo>
                    <a:pt x="4339" y="9909"/>
                  </a:lnTo>
                  <a:lnTo>
                    <a:pt x="4339" y="7209"/>
                  </a:lnTo>
                  <a:close/>
                  <a:moveTo>
                    <a:pt x="19430" y="9909"/>
                  </a:moveTo>
                  <a:lnTo>
                    <a:pt x="19430" y="7209"/>
                  </a:lnTo>
                  <a:cubicBezTo>
                    <a:pt x="19430" y="3240"/>
                    <a:pt x="15544" y="0"/>
                    <a:pt x="10816" y="0"/>
                  </a:cubicBezTo>
                  <a:cubicBezTo>
                    <a:pt x="6056" y="0"/>
                    <a:pt x="2170" y="3240"/>
                    <a:pt x="2170" y="7209"/>
                  </a:cubicBezTo>
                  <a:lnTo>
                    <a:pt x="2170" y="9909"/>
                  </a:lnTo>
                  <a:lnTo>
                    <a:pt x="0" y="9909"/>
                  </a:lnTo>
                  <a:lnTo>
                    <a:pt x="0" y="20682"/>
                  </a:lnTo>
                  <a:cubicBezTo>
                    <a:pt x="0" y="21195"/>
                    <a:pt x="486" y="21600"/>
                    <a:pt x="1101" y="21600"/>
                  </a:cubicBezTo>
                  <a:lnTo>
                    <a:pt x="20531" y="21600"/>
                  </a:lnTo>
                  <a:cubicBezTo>
                    <a:pt x="21114" y="21600"/>
                    <a:pt x="21600" y="21195"/>
                    <a:pt x="21600" y="20682"/>
                  </a:cubicBezTo>
                  <a:lnTo>
                    <a:pt x="21600" y="9909"/>
                  </a:lnTo>
                  <a:lnTo>
                    <a:pt x="19430" y="9909"/>
                  </a:lnTo>
                  <a:close/>
                </a:path>
              </a:pathLst>
            </a:custGeom>
            <a:solidFill>
              <a:srgbClr val="FBAB2C"/>
            </a:solidFill>
            <a:ln w="12700">
              <a:noFill/>
              <a:miter lim="400000"/>
            </a:ln>
          </p:spPr>
          <p:txBody>
            <a:bodyPr lIns="45695" rIns="45695"/>
            <a:lstStyle/>
            <a:p>
              <a:pPr marL="0" marR="0" lvl="0" indent="0" algn="l" defTabSz="685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 sz="1300">
                  <a:latin typeface="CiscoSansTT ExtraLight"/>
                  <a:ea typeface="CiscoSansTT ExtraLight"/>
                  <a:cs typeface="CiscoSansTT ExtraLight"/>
                  <a:sym typeface="CiscoSansTT ExtraLight"/>
                </a:defRPr>
              </a:pPr>
              <a:endParaRPr kumimoji="0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" panose="020B0503020202020204" pitchFamily="34" charset="0"/>
                <a:ea typeface="CiscoSansTT ExtraLight"/>
                <a:cs typeface="CiscoSansTT" panose="020B0503020201020303" pitchFamily="34" charset="0"/>
                <a:sym typeface="CiscoSansTT ExtraLight"/>
              </a:endParaRPr>
            </a:p>
          </p:txBody>
        </p:sp>
        <p:cxnSp>
          <p:nvCxnSpPr>
            <p:cNvPr id="1056" name="Straight Connector 1055">
              <a:extLst>
                <a:ext uri="{FF2B5EF4-FFF2-40B4-BE49-F238E27FC236}">
                  <a16:creationId xmlns:a16="http://schemas.microsoft.com/office/drawing/2014/main" id="{696E171E-7114-4FFA-9220-DF3CA5D5016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55506" y="3756996"/>
              <a:ext cx="86683" cy="7983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57" name="Group 1056">
            <a:extLst>
              <a:ext uri="{FF2B5EF4-FFF2-40B4-BE49-F238E27FC236}">
                <a16:creationId xmlns:a16="http://schemas.microsoft.com/office/drawing/2014/main" id="{7FBC374E-2787-4621-7D99-7E485551FB12}"/>
              </a:ext>
            </a:extLst>
          </p:cNvPr>
          <p:cNvGrpSpPr/>
          <p:nvPr/>
        </p:nvGrpSpPr>
        <p:grpSpPr>
          <a:xfrm>
            <a:off x="6042607" y="3267147"/>
            <a:ext cx="242239" cy="260603"/>
            <a:chOff x="5655506" y="3756996"/>
            <a:chExt cx="242239" cy="260603"/>
          </a:xfrm>
        </p:grpSpPr>
        <p:cxnSp>
          <p:nvCxnSpPr>
            <p:cNvPr id="1058" name="Straight Connector 1057">
              <a:extLst>
                <a:ext uri="{FF2B5EF4-FFF2-40B4-BE49-F238E27FC236}">
                  <a16:creationId xmlns:a16="http://schemas.microsoft.com/office/drawing/2014/main" id="{3FC82DC4-8EAF-F8B5-0277-5F53121CC516}"/>
                </a:ext>
              </a:extLst>
            </p:cNvPr>
            <p:cNvCxnSpPr>
              <a:cxnSpLocks/>
            </p:cNvCxnSpPr>
            <p:nvPr/>
          </p:nvCxnSpPr>
          <p:spPr>
            <a:xfrm>
              <a:off x="5656691" y="3839569"/>
              <a:ext cx="157675" cy="17500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9" name="Straight Connector 1058">
              <a:extLst>
                <a:ext uri="{FF2B5EF4-FFF2-40B4-BE49-F238E27FC236}">
                  <a16:creationId xmlns:a16="http://schemas.microsoft.com/office/drawing/2014/main" id="{7D5020ED-CAA6-E95A-4F46-6A4ACF0D64B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13977" y="3923414"/>
              <a:ext cx="83768" cy="9418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0" name="Shape">
              <a:extLst>
                <a:ext uri="{FF2B5EF4-FFF2-40B4-BE49-F238E27FC236}">
                  <a16:creationId xmlns:a16="http://schemas.microsoft.com/office/drawing/2014/main" id="{DA7963CD-6C8B-D98F-AB2B-40D1872061A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89284" y="3874115"/>
              <a:ext cx="88096" cy="1064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339" y="7209"/>
                  </a:moveTo>
                  <a:cubicBezTo>
                    <a:pt x="4339" y="4212"/>
                    <a:pt x="7222" y="1809"/>
                    <a:pt x="10816" y="1809"/>
                  </a:cubicBezTo>
                  <a:cubicBezTo>
                    <a:pt x="14378" y="1809"/>
                    <a:pt x="17293" y="4212"/>
                    <a:pt x="17293" y="7209"/>
                  </a:cubicBezTo>
                  <a:lnTo>
                    <a:pt x="17293" y="9909"/>
                  </a:lnTo>
                  <a:lnTo>
                    <a:pt x="4339" y="9909"/>
                  </a:lnTo>
                  <a:lnTo>
                    <a:pt x="4339" y="7209"/>
                  </a:lnTo>
                  <a:close/>
                  <a:moveTo>
                    <a:pt x="19430" y="9909"/>
                  </a:moveTo>
                  <a:lnTo>
                    <a:pt x="19430" y="7209"/>
                  </a:lnTo>
                  <a:cubicBezTo>
                    <a:pt x="19430" y="3240"/>
                    <a:pt x="15544" y="0"/>
                    <a:pt x="10816" y="0"/>
                  </a:cubicBezTo>
                  <a:cubicBezTo>
                    <a:pt x="6056" y="0"/>
                    <a:pt x="2170" y="3240"/>
                    <a:pt x="2170" y="7209"/>
                  </a:cubicBezTo>
                  <a:lnTo>
                    <a:pt x="2170" y="9909"/>
                  </a:lnTo>
                  <a:lnTo>
                    <a:pt x="0" y="9909"/>
                  </a:lnTo>
                  <a:lnTo>
                    <a:pt x="0" y="20682"/>
                  </a:lnTo>
                  <a:cubicBezTo>
                    <a:pt x="0" y="21195"/>
                    <a:pt x="486" y="21600"/>
                    <a:pt x="1101" y="21600"/>
                  </a:cubicBezTo>
                  <a:lnTo>
                    <a:pt x="20531" y="21600"/>
                  </a:lnTo>
                  <a:cubicBezTo>
                    <a:pt x="21114" y="21600"/>
                    <a:pt x="21600" y="21195"/>
                    <a:pt x="21600" y="20682"/>
                  </a:cubicBezTo>
                  <a:lnTo>
                    <a:pt x="21600" y="9909"/>
                  </a:lnTo>
                  <a:lnTo>
                    <a:pt x="19430" y="9909"/>
                  </a:lnTo>
                  <a:close/>
                </a:path>
              </a:pathLst>
            </a:custGeom>
            <a:solidFill>
              <a:srgbClr val="FBAB2C"/>
            </a:solidFill>
            <a:ln w="12700">
              <a:noFill/>
              <a:miter lim="400000"/>
            </a:ln>
          </p:spPr>
          <p:txBody>
            <a:bodyPr lIns="45695" rIns="45695"/>
            <a:lstStyle/>
            <a:p>
              <a:pPr marL="0" marR="0" lvl="0" indent="0" algn="l" defTabSz="685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 sz="1300">
                  <a:latin typeface="CiscoSansTT ExtraLight"/>
                  <a:ea typeface="CiscoSansTT ExtraLight"/>
                  <a:cs typeface="CiscoSansTT ExtraLight"/>
                  <a:sym typeface="CiscoSansTT ExtraLight"/>
                </a:defRPr>
              </a:pPr>
              <a:endParaRPr kumimoji="0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" panose="020B0503020202020204" pitchFamily="34" charset="0"/>
                <a:ea typeface="CiscoSansTT ExtraLight"/>
                <a:cs typeface="CiscoSansTT" panose="020B0503020201020303" pitchFamily="34" charset="0"/>
                <a:sym typeface="CiscoSansTT ExtraLight"/>
              </a:endParaRPr>
            </a:p>
          </p:txBody>
        </p:sp>
        <p:cxnSp>
          <p:nvCxnSpPr>
            <p:cNvPr id="1061" name="Straight Connector 1060">
              <a:extLst>
                <a:ext uri="{FF2B5EF4-FFF2-40B4-BE49-F238E27FC236}">
                  <a16:creationId xmlns:a16="http://schemas.microsoft.com/office/drawing/2014/main" id="{7D5F60DD-57F4-59C4-0105-BBB83B22DCA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55506" y="3756996"/>
              <a:ext cx="86683" cy="7983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62" name="Group 1061">
            <a:extLst>
              <a:ext uri="{FF2B5EF4-FFF2-40B4-BE49-F238E27FC236}">
                <a16:creationId xmlns:a16="http://schemas.microsoft.com/office/drawing/2014/main" id="{FEF05A90-0CFF-46BD-334F-EC823BAEE58B}"/>
              </a:ext>
            </a:extLst>
          </p:cNvPr>
          <p:cNvGrpSpPr/>
          <p:nvPr/>
        </p:nvGrpSpPr>
        <p:grpSpPr>
          <a:xfrm>
            <a:off x="5859458" y="3066169"/>
            <a:ext cx="242239" cy="260603"/>
            <a:chOff x="5655506" y="3756996"/>
            <a:chExt cx="242239" cy="260603"/>
          </a:xfrm>
        </p:grpSpPr>
        <p:cxnSp>
          <p:nvCxnSpPr>
            <p:cNvPr id="1063" name="Straight Connector 1062">
              <a:extLst>
                <a:ext uri="{FF2B5EF4-FFF2-40B4-BE49-F238E27FC236}">
                  <a16:creationId xmlns:a16="http://schemas.microsoft.com/office/drawing/2014/main" id="{8F0B64D8-4914-1565-5A09-7B9FC79076C6}"/>
                </a:ext>
              </a:extLst>
            </p:cNvPr>
            <p:cNvCxnSpPr>
              <a:cxnSpLocks/>
            </p:cNvCxnSpPr>
            <p:nvPr/>
          </p:nvCxnSpPr>
          <p:spPr>
            <a:xfrm>
              <a:off x="5656691" y="3839569"/>
              <a:ext cx="157675" cy="17500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4" name="Straight Connector 1063">
              <a:extLst>
                <a:ext uri="{FF2B5EF4-FFF2-40B4-BE49-F238E27FC236}">
                  <a16:creationId xmlns:a16="http://schemas.microsoft.com/office/drawing/2014/main" id="{17B48302-9443-2843-57F7-C87FBBF8F0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13977" y="3923414"/>
              <a:ext cx="83768" cy="9418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5" name="Shape">
              <a:extLst>
                <a:ext uri="{FF2B5EF4-FFF2-40B4-BE49-F238E27FC236}">
                  <a16:creationId xmlns:a16="http://schemas.microsoft.com/office/drawing/2014/main" id="{A6C0C8BF-09E6-C5AA-BB2B-34502E7C05C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89284" y="3874115"/>
              <a:ext cx="88096" cy="1064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339" y="7209"/>
                  </a:moveTo>
                  <a:cubicBezTo>
                    <a:pt x="4339" y="4212"/>
                    <a:pt x="7222" y="1809"/>
                    <a:pt x="10816" y="1809"/>
                  </a:cubicBezTo>
                  <a:cubicBezTo>
                    <a:pt x="14378" y="1809"/>
                    <a:pt x="17293" y="4212"/>
                    <a:pt x="17293" y="7209"/>
                  </a:cubicBezTo>
                  <a:lnTo>
                    <a:pt x="17293" y="9909"/>
                  </a:lnTo>
                  <a:lnTo>
                    <a:pt x="4339" y="9909"/>
                  </a:lnTo>
                  <a:lnTo>
                    <a:pt x="4339" y="7209"/>
                  </a:lnTo>
                  <a:close/>
                  <a:moveTo>
                    <a:pt x="19430" y="9909"/>
                  </a:moveTo>
                  <a:lnTo>
                    <a:pt x="19430" y="7209"/>
                  </a:lnTo>
                  <a:cubicBezTo>
                    <a:pt x="19430" y="3240"/>
                    <a:pt x="15544" y="0"/>
                    <a:pt x="10816" y="0"/>
                  </a:cubicBezTo>
                  <a:cubicBezTo>
                    <a:pt x="6056" y="0"/>
                    <a:pt x="2170" y="3240"/>
                    <a:pt x="2170" y="7209"/>
                  </a:cubicBezTo>
                  <a:lnTo>
                    <a:pt x="2170" y="9909"/>
                  </a:lnTo>
                  <a:lnTo>
                    <a:pt x="0" y="9909"/>
                  </a:lnTo>
                  <a:lnTo>
                    <a:pt x="0" y="20682"/>
                  </a:lnTo>
                  <a:cubicBezTo>
                    <a:pt x="0" y="21195"/>
                    <a:pt x="486" y="21600"/>
                    <a:pt x="1101" y="21600"/>
                  </a:cubicBezTo>
                  <a:lnTo>
                    <a:pt x="20531" y="21600"/>
                  </a:lnTo>
                  <a:cubicBezTo>
                    <a:pt x="21114" y="21600"/>
                    <a:pt x="21600" y="21195"/>
                    <a:pt x="21600" y="20682"/>
                  </a:cubicBezTo>
                  <a:lnTo>
                    <a:pt x="21600" y="9909"/>
                  </a:lnTo>
                  <a:lnTo>
                    <a:pt x="19430" y="9909"/>
                  </a:lnTo>
                  <a:close/>
                </a:path>
              </a:pathLst>
            </a:custGeom>
            <a:solidFill>
              <a:srgbClr val="FBAB2C"/>
            </a:solidFill>
            <a:ln w="12700">
              <a:noFill/>
              <a:miter lim="400000"/>
            </a:ln>
          </p:spPr>
          <p:txBody>
            <a:bodyPr lIns="45695" rIns="45695"/>
            <a:lstStyle/>
            <a:p>
              <a:pPr marL="0" marR="0" lvl="0" indent="0" algn="l" defTabSz="685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 sz="1300">
                  <a:latin typeface="CiscoSansTT ExtraLight"/>
                  <a:ea typeface="CiscoSansTT ExtraLight"/>
                  <a:cs typeface="CiscoSansTT ExtraLight"/>
                  <a:sym typeface="CiscoSansTT ExtraLight"/>
                </a:defRPr>
              </a:pPr>
              <a:endParaRPr kumimoji="0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" panose="020B0503020202020204" pitchFamily="34" charset="0"/>
                <a:ea typeface="CiscoSansTT ExtraLight"/>
                <a:cs typeface="CiscoSansTT" panose="020B0503020201020303" pitchFamily="34" charset="0"/>
                <a:sym typeface="CiscoSansTT ExtraLight"/>
              </a:endParaRPr>
            </a:p>
          </p:txBody>
        </p:sp>
        <p:cxnSp>
          <p:nvCxnSpPr>
            <p:cNvPr id="1066" name="Straight Connector 1065">
              <a:extLst>
                <a:ext uri="{FF2B5EF4-FFF2-40B4-BE49-F238E27FC236}">
                  <a16:creationId xmlns:a16="http://schemas.microsoft.com/office/drawing/2014/main" id="{FF5B749E-9D6E-7553-9C33-BD7515B9C5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55506" y="3756996"/>
              <a:ext cx="86683" cy="7983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68" name="Straight Connector 1067">
            <a:extLst>
              <a:ext uri="{FF2B5EF4-FFF2-40B4-BE49-F238E27FC236}">
                <a16:creationId xmlns:a16="http://schemas.microsoft.com/office/drawing/2014/main" id="{A9DACE70-A557-3807-4D46-23B668A59A61}"/>
              </a:ext>
            </a:extLst>
          </p:cNvPr>
          <p:cNvCxnSpPr/>
          <p:nvPr/>
        </p:nvCxnSpPr>
        <p:spPr>
          <a:xfrm flipH="1">
            <a:off x="5384162" y="3630866"/>
            <a:ext cx="9759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9" name="Straight Connector 1068">
            <a:extLst>
              <a:ext uri="{FF2B5EF4-FFF2-40B4-BE49-F238E27FC236}">
                <a16:creationId xmlns:a16="http://schemas.microsoft.com/office/drawing/2014/main" id="{3D97F2CB-F591-360F-641E-E1F61BC5452F}"/>
              </a:ext>
            </a:extLst>
          </p:cNvPr>
          <p:cNvCxnSpPr>
            <a:cxnSpLocks/>
            <a:stCxn id="20" idx="2"/>
          </p:cNvCxnSpPr>
          <p:nvPr/>
        </p:nvCxnSpPr>
        <p:spPr>
          <a:xfrm>
            <a:off x="5384241" y="3455672"/>
            <a:ext cx="0" cy="1751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2" name="Straight Connector 1071">
            <a:extLst>
              <a:ext uri="{FF2B5EF4-FFF2-40B4-BE49-F238E27FC236}">
                <a16:creationId xmlns:a16="http://schemas.microsoft.com/office/drawing/2014/main" id="{59DBA447-841B-D447-7AF0-DA3127E52A24}"/>
              </a:ext>
            </a:extLst>
          </p:cNvPr>
          <p:cNvCxnSpPr>
            <a:cxnSpLocks/>
          </p:cNvCxnSpPr>
          <p:nvPr/>
        </p:nvCxnSpPr>
        <p:spPr>
          <a:xfrm>
            <a:off x="6359599" y="3457050"/>
            <a:ext cx="0" cy="1751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Shape">
            <a:extLst>
              <a:ext uri="{FF2B5EF4-FFF2-40B4-BE49-F238E27FC236}">
                <a16:creationId xmlns:a16="http://schemas.microsoft.com/office/drawing/2014/main" id="{1A6692E1-A24E-BF6D-DE58-FD2D51E51FB5}"/>
              </a:ext>
            </a:extLst>
          </p:cNvPr>
          <p:cNvSpPr>
            <a:spLocks noChangeAspect="1"/>
          </p:cNvSpPr>
          <p:nvPr/>
        </p:nvSpPr>
        <p:spPr>
          <a:xfrm>
            <a:off x="5791512" y="3563293"/>
            <a:ext cx="88096" cy="1064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339" y="7209"/>
                </a:moveTo>
                <a:cubicBezTo>
                  <a:pt x="4339" y="4212"/>
                  <a:pt x="7222" y="1809"/>
                  <a:pt x="10816" y="1809"/>
                </a:cubicBezTo>
                <a:cubicBezTo>
                  <a:pt x="14378" y="1809"/>
                  <a:pt x="17293" y="4212"/>
                  <a:pt x="17293" y="7209"/>
                </a:cubicBezTo>
                <a:lnTo>
                  <a:pt x="17293" y="9909"/>
                </a:lnTo>
                <a:lnTo>
                  <a:pt x="4339" y="9909"/>
                </a:lnTo>
                <a:lnTo>
                  <a:pt x="4339" y="7209"/>
                </a:lnTo>
                <a:close/>
                <a:moveTo>
                  <a:pt x="19430" y="9909"/>
                </a:moveTo>
                <a:lnTo>
                  <a:pt x="19430" y="7209"/>
                </a:lnTo>
                <a:cubicBezTo>
                  <a:pt x="19430" y="3240"/>
                  <a:pt x="15544" y="0"/>
                  <a:pt x="10816" y="0"/>
                </a:cubicBezTo>
                <a:cubicBezTo>
                  <a:pt x="6056" y="0"/>
                  <a:pt x="2170" y="3240"/>
                  <a:pt x="2170" y="7209"/>
                </a:cubicBezTo>
                <a:lnTo>
                  <a:pt x="2170" y="9909"/>
                </a:lnTo>
                <a:lnTo>
                  <a:pt x="0" y="9909"/>
                </a:lnTo>
                <a:lnTo>
                  <a:pt x="0" y="20682"/>
                </a:lnTo>
                <a:cubicBezTo>
                  <a:pt x="0" y="21195"/>
                  <a:pt x="486" y="21600"/>
                  <a:pt x="1101" y="21600"/>
                </a:cubicBezTo>
                <a:lnTo>
                  <a:pt x="20531" y="21600"/>
                </a:lnTo>
                <a:cubicBezTo>
                  <a:pt x="21114" y="21600"/>
                  <a:pt x="21600" y="21195"/>
                  <a:pt x="21600" y="20682"/>
                </a:cubicBezTo>
                <a:lnTo>
                  <a:pt x="21600" y="9909"/>
                </a:lnTo>
                <a:lnTo>
                  <a:pt x="19430" y="9909"/>
                </a:lnTo>
                <a:close/>
              </a:path>
            </a:pathLst>
          </a:custGeom>
          <a:solidFill>
            <a:srgbClr val="FBAB2C"/>
          </a:solidFill>
          <a:ln w="12700">
            <a:noFill/>
            <a:miter lim="400000"/>
          </a:ln>
        </p:spPr>
        <p:txBody>
          <a:bodyPr lIns="45695" rIns="45695"/>
          <a:lstStyle/>
          <a:p>
            <a:pPr marL="0" marR="0" lvl="0" indent="0" algn="l" defTabSz="685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sz="1300">
                <a:latin typeface="CiscoSansTT ExtraLight"/>
                <a:ea typeface="CiscoSansTT ExtraLight"/>
                <a:cs typeface="CiscoSansTT ExtraLight"/>
                <a:sym typeface="CiscoSansTT ExtraLight"/>
              </a:defRPr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" panose="020B0503020202020204" pitchFamily="34" charset="0"/>
              <a:ea typeface="CiscoSansTT ExtraLight"/>
              <a:cs typeface="CiscoSansTT" panose="020B0503020201020303" pitchFamily="34" charset="0"/>
              <a:sym typeface="CiscoSansTT ExtraLight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66B57A96-3F3D-4F9D-80C0-9023CA070627}"/>
              </a:ext>
            </a:extLst>
          </p:cNvPr>
          <p:cNvSpPr/>
          <p:nvPr/>
        </p:nvSpPr>
        <p:spPr>
          <a:xfrm>
            <a:off x="4776114" y="3925461"/>
            <a:ext cx="1830601" cy="399322"/>
          </a:xfrm>
          <a:prstGeom prst="roundRect">
            <a:avLst>
              <a:gd name="adj" fmla="val 7231"/>
            </a:avLst>
          </a:prstGeom>
          <a:solidFill>
            <a:schemeClr val="tx1">
              <a:lumMod val="75000"/>
              <a:alpha val="27843"/>
            </a:schemeClr>
          </a:solidFill>
          <a:ln w="22225" cap="rnd" cmpd="sng" algn="ctr">
            <a:solidFill>
              <a:schemeClr val="bg2">
                <a:alpha val="91000"/>
              </a:schemeClr>
            </a:solidFill>
            <a:prstDash val="sysDot"/>
          </a:ln>
          <a:effectLst/>
        </p:spPr>
        <p:txBody>
          <a:bodyPr lIns="38100" tIns="83820" rIns="38100" bIns="83820" rtlCol="0" anchor="ctr"/>
          <a:lstStyle/>
          <a:p>
            <a:pPr>
              <a:buClrTx/>
            </a:pPr>
            <a:endParaRPr lang="en-US" sz="800" b="1" kern="1200" dirty="0">
              <a:solidFill>
                <a:schemeClr val="tx1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26" name="Freeform 140">
            <a:extLst>
              <a:ext uri="{FF2B5EF4-FFF2-40B4-BE49-F238E27FC236}">
                <a16:creationId xmlns:a16="http://schemas.microsoft.com/office/drawing/2014/main" id="{7809818D-A84E-6D74-8C9A-B4E93F549E9F}"/>
              </a:ext>
            </a:extLst>
          </p:cNvPr>
          <p:cNvSpPr>
            <a:spLocks/>
          </p:cNvSpPr>
          <p:nvPr/>
        </p:nvSpPr>
        <p:spPr bwMode="auto">
          <a:xfrm>
            <a:off x="7399530" y="3371938"/>
            <a:ext cx="845489" cy="522098"/>
          </a:xfrm>
          <a:custGeom>
            <a:avLst/>
            <a:gdLst>
              <a:gd name="connsiteX0" fmla="*/ 501088 w 826646"/>
              <a:gd name="connsiteY0" fmla="*/ 0 h 409487"/>
              <a:gd name="connsiteX1" fmla="*/ 602589 w 826646"/>
              <a:gd name="connsiteY1" fmla="*/ 0 h 409487"/>
              <a:gd name="connsiteX2" fmla="*/ 693214 w 826646"/>
              <a:gd name="connsiteY2" fmla="*/ 87137 h 409487"/>
              <a:gd name="connsiteX3" fmla="*/ 687399 w 826646"/>
              <a:gd name="connsiteY3" fmla="*/ 116636 h 409487"/>
              <a:gd name="connsiteX4" fmla="*/ 714831 w 826646"/>
              <a:gd name="connsiteY4" fmla="*/ 122059 h 409487"/>
              <a:gd name="connsiteX5" fmla="*/ 769899 w 826646"/>
              <a:gd name="connsiteY5" fmla="*/ 205792 h 409487"/>
              <a:gd name="connsiteX6" fmla="*/ 763447 w 826646"/>
              <a:gd name="connsiteY6" fmla="*/ 236587 h 409487"/>
              <a:gd name="connsiteX7" fmla="*/ 773111 w 826646"/>
              <a:gd name="connsiteY7" fmla="*/ 238618 h 409487"/>
              <a:gd name="connsiteX8" fmla="*/ 826646 w 826646"/>
              <a:gd name="connsiteY8" fmla="*/ 322350 h 409487"/>
              <a:gd name="connsiteX9" fmla="*/ 739631 w 826646"/>
              <a:gd name="connsiteY9" fmla="*/ 409487 h 409487"/>
              <a:gd name="connsiteX10" fmla="*/ 87015 w 826646"/>
              <a:gd name="connsiteY10" fmla="*/ 409487 h 409487"/>
              <a:gd name="connsiteX11" fmla="*/ 0 w 826646"/>
              <a:gd name="connsiteY11" fmla="*/ 322350 h 409487"/>
              <a:gd name="connsiteX12" fmla="*/ 87015 w 826646"/>
              <a:gd name="connsiteY12" fmla="*/ 231583 h 409487"/>
              <a:gd name="connsiteX13" fmla="*/ 187867 w 826646"/>
              <a:gd name="connsiteY13" fmla="*/ 231583 h 409487"/>
              <a:gd name="connsiteX14" fmla="*/ 182506 w 826646"/>
              <a:gd name="connsiteY14" fmla="*/ 205792 h 409487"/>
              <a:gd name="connsiteX15" fmla="*/ 269527 w 826646"/>
              <a:gd name="connsiteY15" fmla="*/ 115025 h 409487"/>
              <a:gd name="connsiteX16" fmla="*/ 404769 w 826646"/>
              <a:gd name="connsiteY16" fmla="*/ 115025 h 409487"/>
              <a:gd name="connsiteX17" fmla="*/ 419542 w 826646"/>
              <a:gd name="connsiteY17" fmla="*/ 115025 h 409487"/>
              <a:gd name="connsiteX18" fmla="*/ 414088 w 826646"/>
              <a:gd name="connsiteY18" fmla="*/ 87137 h 409487"/>
              <a:gd name="connsiteX19" fmla="*/ 501088 w 826646"/>
              <a:gd name="connsiteY19" fmla="*/ 0 h 409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826646" h="409487">
                <a:moveTo>
                  <a:pt x="501088" y="0"/>
                </a:moveTo>
                <a:cubicBezTo>
                  <a:pt x="602589" y="0"/>
                  <a:pt x="602589" y="0"/>
                  <a:pt x="602589" y="0"/>
                </a:cubicBezTo>
                <a:cubicBezTo>
                  <a:pt x="653339" y="0"/>
                  <a:pt x="693214" y="39938"/>
                  <a:pt x="693214" y="87137"/>
                </a:cubicBezTo>
                <a:lnTo>
                  <a:pt x="687399" y="116636"/>
                </a:lnTo>
                <a:lnTo>
                  <a:pt x="714831" y="122059"/>
                </a:lnTo>
                <a:cubicBezTo>
                  <a:pt x="747464" y="135675"/>
                  <a:pt x="769899" y="167670"/>
                  <a:pt x="769899" y="205792"/>
                </a:cubicBezTo>
                <a:lnTo>
                  <a:pt x="763447" y="236587"/>
                </a:lnTo>
                <a:lnTo>
                  <a:pt x="773111" y="238618"/>
                </a:lnTo>
                <a:cubicBezTo>
                  <a:pt x="804212" y="252233"/>
                  <a:pt x="826646" y="284228"/>
                  <a:pt x="826646" y="322350"/>
                </a:cubicBezTo>
                <a:cubicBezTo>
                  <a:pt x="826646" y="369550"/>
                  <a:pt x="786764" y="409487"/>
                  <a:pt x="739631" y="409487"/>
                </a:cubicBezTo>
                <a:cubicBezTo>
                  <a:pt x="87015" y="409487"/>
                  <a:pt x="87015" y="409487"/>
                  <a:pt x="87015" y="409487"/>
                </a:cubicBezTo>
                <a:cubicBezTo>
                  <a:pt x="39882" y="409487"/>
                  <a:pt x="0" y="369550"/>
                  <a:pt x="0" y="322350"/>
                </a:cubicBezTo>
                <a:cubicBezTo>
                  <a:pt x="0" y="271521"/>
                  <a:pt x="39882" y="231583"/>
                  <a:pt x="87015" y="231583"/>
                </a:cubicBezTo>
                <a:lnTo>
                  <a:pt x="187867" y="231583"/>
                </a:lnTo>
                <a:lnTo>
                  <a:pt x="182506" y="205792"/>
                </a:lnTo>
                <a:cubicBezTo>
                  <a:pt x="182506" y="154963"/>
                  <a:pt x="222391" y="115025"/>
                  <a:pt x="269527" y="115025"/>
                </a:cubicBezTo>
                <a:cubicBezTo>
                  <a:pt x="320743" y="115025"/>
                  <a:pt x="365557" y="115025"/>
                  <a:pt x="404769" y="115025"/>
                </a:cubicBezTo>
                <a:lnTo>
                  <a:pt x="419542" y="115025"/>
                </a:lnTo>
                <a:lnTo>
                  <a:pt x="414088" y="87137"/>
                </a:lnTo>
                <a:cubicBezTo>
                  <a:pt x="414088" y="39938"/>
                  <a:pt x="453963" y="0"/>
                  <a:pt x="50108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6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CiscoSansTT" panose="020B0503020201020303" pitchFamily="34" charset="0"/>
              <a:sym typeface="Arial"/>
            </a:endParaRPr>
          </a:p>
          <a:p>
            <a:pPr marL="0" marR="0" lvl="0" indent="0" algn="ctr" defTabSz="456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dirty="0">
                <a:solidFill>
                  <a:srgbClr val="002060"/>
                </a:solidFill>
                <a:latin typeface="Avenir Next" panose="020B0503020202020204" pitchFamily="34" charset="0"/>
                <a:ea typeface="+mn-ea"/>
                <a:cs typeface="CiscoSansTT" panose="020B0503020201020303" pitchFamily="34" charset="0"/>
              </a:rPr>
              <a:t>   3</a:t>
            </a:r>
            <a:r>
              <a:rPr lang="en-US" sz="1000" baseline="30000" dirty="0">
                <a:solidFill>
                  <a:srgbClr val="002060"/>
                </a:solidFill>
                <a:latin typeface="Avenir Next" panose="020B0503020202020204" pitchFamily="34" charset="0"/>
                <a:ea typeface="+mn-ea"/>
                <a:cs typeface="CiscoSansTT" panose="020B0503020201020303" pitchFamily="34" charset="0"/>
              </a:rPr>
              <a:t>rd</a:t>
            </a:r>
            <a:r>
              <a:rPr lang="en-US" sz="1000" dirty="0">
                <a:solidFill>
                  <a:srgbClr val="002060"/>
                </a:solidFill>
                <a:latin typeface="Avenir Next" panose="020B0503020202020204" pitchFamily="34" charset="0"/>
                <a:ea typeface="+mn-ea"/>
                <a:cs typeface="CiscoSansTT" panose="020B0503020201020303" pitchFamily="34" charset="0"/>
              </a:rPr>
              <a:t> Party API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BA486FB-053D-27EB-DC64-AFCE484609C9}"/>
              </a:ext>
            </a:extLst>
          </p:cNvPr>
          <p:cNvCxnSpPr>
            <a:cxnSpLocks/>
          </p:cNvCxnSpPr>
          <p:nvPr/>
        </p:nvCxnSpPr>
        <p:spPr>
          <a:xfrm flipH="1">
            <a:off x="5347595" y="4047675"/>
            <a:ext cx="69501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7F7C639-8C13-5BFB-BAA2-E3E624D3626B}"/>
              </a:ext>
            </a:extLst>
          </p:cNvPr>
          <p:cNvCxnSpPr>
            <a:cxnSpLocks/>
            <a:endCxn id="33" idx="0"/>
          </p:cNvCxnSpPr>
          <p:nvPr/>
        </p:nvCxnSpPr>
        <p:spPr>
          <a:xfrm>
            <a:off x="5343586" y="3500442"/>
            <a:ext cx="12414" cy="5222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hape">
            <a:extLst>
              <a:ext uri="{FF2B5EF4-FFF2-40B4-BE49-F238E27FC236}">
                <a16:creationId xmlns:a16="http://schemas.microsoft.com/office/drawing/2014/main" id="{72160CF8-B655-49E3-B44D-1A4ED17CCB80}"/>
              </a:ext>
            </a:extLst>
          </p:cNvPr>
          <p:cNvSpPr>
            <a:spLocks noChangeAspect="1"/>
          </p:cNvSpPr>
          <p:nvPr/>
        </p:nvSpPr>
        <p:spPr>
          <a:xfrm>
            <a:off x="5311952" y="3969460"/>
            <a:ext cx="88096" cy="1064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339" y="7209"/>
                </a:moveTo>
                <a:cubicBezTo>
                  <a:pt x="4339" y="4212"/>
                  <a:pt x="7222" y="1809"/>
                  <a:pt x="10816" y="1809"/>
                </a:cubicBezTo>
                <a:cubicBezTo>
                  <a:pt x="14378" y="1809"/>
                  <a:pt x="17293" y="4212"/>
                  <a:pt x="17293" y="7209"/>
                </a:cubicBezTo>
                <a:lnTo>
                  <a:pt x="17293" y="9909"/>
                </a:lnTo>
                <a:lnTo>
                  <a:pt x="4339" y="9909"/>
                </a:lnTo>
                <a:lnTo>
                  <a:pt x="4339" y="7209"/>
                </a:lnTo>
                <a:close/>
                <a:moveTo>
                  <a:pt x="19430" y="9909"/>
                </a:moveTo>
                <a:lnTo>
                  <a:pt x="19430" y="7209"/>
                </a:lnTo>
                <a:cubicBezTo>
                  <a:pt x="19430" y="3240"/>
                  <a:pt x="15544" y="0"/>
                  <a:pt x="10816" y="0"/>
                </a:cubicBezTo>
                <a:cubicBezTo>
                  <a:pt x="6056" y="0"/>
                  <a:pt x="2170" y="3240"/>
                  <a:pt x="2170" y="7209"/>
                </a:cubicBezTo>
                <a:lnTo>
                  <a:pt x="2170" y="9909"/>
                </a:lnTo>
                <a:lnTo>
                  <a:pt x="0" y="9909"/>
                </a:lnTo>
                <a:lnTo>
                  <a:pt x="0" y="20682"/>
                </a:lnTo>
                <a:cubicBezTo>
                  <a:pt x="0" y="21195"/>
                  <a:pt x="486" y="21600"/>
                  <a:pt x="1101" y="21600"/>
                </a:cubicBezTo>
                <a:lnTo>
                  <a:pt x="20531" y="21600"/>
                </a:lnTo>
                <a:cubicBezTo>
                  <a:pt x="21114" y="21600"/>
                  <a:pt x="21600" y="21195"/>
                  <a:pt x="21600" y="20682"/>
                </a:cubicBezTo>
                <a:lnTo>
                  <a:pt x="21600" y="9909"/>
                </a:lnTo>
                <a:lnTo>
                  <a:pt x="19430" y="9909"/>
                </a:lnTo>
                <a:close/>
              </a:path>
            </a:pathLst>
          </a:custGeom>
          <a:solidFill>
            <a:srgbClr val="FBAB2C"/>
          </a:solidFill>
          <a:ln w="12700">
            <a:noFill/>
            <a:miter lim="400000"/>
          </a:ln>
        </p:spPr>
        <p:txBody>
          <a:bodyPr lIns="45695" rIns="45695"/>
          <a:lstStyle/>
          <a:p>
            <a:pPr marL="0" marR="0" lvl="0" indent="0" algn="l" defTabSz="685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sz="1300">
                <a:latin typeface="CiscoSansTT ExtraLight"/>
                <a:ea typeface="CiscoSansTT ExtraLight"/>
                <a:cs typeface="CiscoSansTT ExtraLight"/>
                <a:sym typeface="CiscoSansTT ExtraLight"/>
              </a:defRPr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" panose="020B0503020202020204" pitchFamily="34" charset="0"/>
              <a:ea typeface="CiscoSansTT ExtraLight"/>
              <a:cs typeface="CiscoSansTT" panose="020B0503020201020303" pitchFamily="34" charset="0"/>
              <a:sym typeface="CiscoSansTT ExtraLight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2D5778F4-5EB4-C39B-CBA9-CBB84D8BFDEC}"/>
              </a:ext>
            </a:extLst>
          </p:cNvPr>
          <p:cNvCxnSpPr>
            <a:cxnSpLocks/>
            <a:stCxn id="26" idx="11"/>
          </p:cNvCxnSpPr>
          <p:nvPr/>
        </p:nvCxnSpPr>
        <p:spPr>
          <a:xfrm flipH="1">
            <a:off x="6335009" y="3782936"/>
            <a:ext cx="1064521" cy="2612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8" name="Shape">
            <a:extLst>
              <a:ext uri="{FF2B5EF4-FFF2-40B4-BE49-F238E27FC236}">
                <a16:creationId xmlns:a16="http://schemas.microsoft.com/office/drawing/2014/main" id="{23212DC9-7159-B186-BE53-6A967211D870}"/>
              </a:ext>
            </a:extLst>
          </p:cNvPr>
          <p:cNvSpPr>
            <a:spLocks noChangeAspect="1"/>
          </p:cNvSpPr>
          <p:nvPr/>
        </p:nvSpPr>
        <p:spPr>
          <a:xfrm>
            <a:off x="7051799" y="3788281"/>
            <a:ext cx="88096" cy="1064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339" y="7209"/>
                </a:moveTo>
                <a:cubicBezTo>
                  <a:pt x="4339" y="4212"/>
                  <a:pt x="7222" y="1809"/>
                  <a:pt x="10816" y="1809"/>
                </a:cubicBezTo>
                <a:cubicBezTo>
                  <a:pt x="14378" y="1809"/>
                  <a:pt x="17293" y="4212"/>
                  <a:pt x="17293" y="7209"/>
                </a:cubicBezTo>
                <a:lnTo>
                  <a:pt x="17293" y="9909"/>
                </a:lnTo>
                <a:lnTo>
                  <a:pt x="4339" y="9909"/>
                </a:lnTo>
                <a:lnTo>
                  <a:pt x="4339" y="7209"/>
                </a:lnTo>
                <a:close/>
                <a:moveTo>
                  <a:pt x="19430" y="9909"/>
                </a:moveTo>
                <a:lnTo>
                  <a:pt x="19430" y="7209"/>
                </a:lnTo>
                <a:cubicBezTo>
                  <a:pt x="19430" y="3240"/>
                  <a:pt x="15544" y="0"/>
                  <a:pt x="10816" y="0"/>
                </a:cubicBezTo>
                <a:cubicBezTo>
                  <a:pt x="6056" y="0"/>
                  <a:pt x="2170" y="3240"/>
                  <a:pt x="2170" y="7209"/>
                </a:cubicBezTo>
                <a:lnTo>
                  <a:pt x="2170" y="9909"/>
                </a:lnTo>
                <a:lnTo>
                  <a:pt x="0" y="9909"/>
                </a:lnTo>
                <a:lnTo>
                  <a:pt x="0" y="20682"/>
                </a:lnTo>
                <a:cubicBezTo>
                  <a:pt x="0" y="21195"/>
                  <a:pt x="486" y="21600"/>
                  <a:pt x="1101" y="21600"/>
                </a:cubicBezTo>
                <a:lnTo>
                  <a:pt x="20531" y="21600"/>
                </a:lnTo>
                <a:cubicBezTo>
                  <a:pt x="21114" y="21600"/>
                  <a:pt x="21600" y="21195"/>
                  <a:pt x="21600" y="20682"/>
                </a:cubicBezTo>
                <a:lnTo>
                  <a:pt x="21600" y="9909"/>
                </a:lnTo>
                <a:lnTo>
                  <a:pt x="19430" y="9909"/>
                </a:lnTo>
                <a:close/>
              </a:path>
            </a:pathLst>
          </a:custGeom>
          <a:solidFill>
            <a:srgbClr val="FBAB2C"/>
          </a:solidFill>
          <a:ln w="12700">
            <a:noFill/>
            <a:miter lim="400000"/>
          </a:ln>
        </p:spPr>
        <p:txBody>
          <a:bodyPr lIns="45695" rIns="45695"/>
          <a:lstStyle/>
          <a:p>
            <a:pPr marL="0" marR="0" lvl="0" indent="0" algn="l" defTabSz="685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sz="1300">
                <a:latin typeface="CiscoSansTT ExtraLight"/>
                <a:ea typeface="CiscoSansTT ExtraLight"/>
                <a:cs typeface="CiscoSansTT ExtraLight"/>
                <a:sym typeface="CiscoSansTT ExtraLight"/>
              </a:defRPr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" panose="020B0503020202020204" pitchFamily="34" charset="0"/>
              <a:ea typeface="CiscoSansTT ExtraLight"/>
              <a:cs typeface="CiscoSansTT" panose="020B0503020201020303" pitchFamily="34" charset="0"/>
              <a:sym typeface="CiscoSansTT ExtraLight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F470532-8BDD-5F90-71EA-20CC5E1264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2501" y="3875977"/>
            <a:ext cx="518962" cy="504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29" name="Straight Connector 1028">
            <a:extLst>
              <a:ext uri="{FF2B5EF4-FFF2-40B4-BE49-F238E27FC236}">
                <a16:creationId xmlns:a16="http://schemas.microsoft.com/office/drawing/2014/main" id="{DDD9C065-290A-934A-0080-D0800B0B4416}"/>
              </a:ext>
            </a:extLst>
          </p:cNvPr>
          <p:cNvCxnSpPr>
            <a:cxnSpLocks/>
            <a:stCxn id="26" idx="11"/>
          </p:cNvCxnSpPr>
          <p:nvPr/>
        </p:nvCxnSpPr>
        <p:spPr>
          <a:xfrm flipH="1" flipV="1">
            <a:off x="6524060" y="3358892"/>
            <a:ext cx="875470" cy="4240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3" name="Shape">
            <a:extLst>
              <a:ext uri="{FF2B5EF4-FFF2-40B4-BE49-F238E27FC236}">
                <a16:creationId xmlns:a16="http://schemas.microsoft.com/office/drawing/2014/main" id="{F2AAB89D-B02C-5362-001D-17429AAF9321}"/>
              </a:ext>
            </a:extLst>
          </p:cNvPr>
          <p:cNvSpPr>
            <a:spLocks noChangeAspect="1"/>
          </p:cNvSpPr>
          <p:nvPr/>
        </p:nvSpPr>
        <p:spPr>
          <a:xfrm>
            <a:off x="7045772" y="3556817"/>
            <a:ext cx="88096" cy="1064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339" y="7209"/>
                </a:moveTo>
                <a:cubicBezTo>
                  <a:pt x="4339" y="4212"/>
                  <a:pt x="7222" y="1809"/>
                  <a:pt x="10816" y="1809"/>
                </a:cubicBezTo>
                <a:cubicBezTo>
                  <a:pt x="14378" y="1809"/>
                  <a:pt x="17293" y="4212"/>
                  <a:pt x="17293" y="7209"/>
                </a:cubicBezTo>
                <a:lnTo>
                  <a:pt x="17293" y="9909"/>
                </a:lnTo>
                <a:lnTo>
                  <a:pt x="4339" y="9909"/>
                </a:lnTo>
                <a:lnTo>
                  <a:pt x="4339" y="7209"/>
                </a:lnTo>
                <a:close/>
                <a:moveTo>
                  <a:pt x="19430" y="9909"/>
                </a:moveTo>
                <a:lnTo>
                  <a:pt x="19430" y="7209"/>
                </a:lnTo>
                <a:cubicBezTo>
                  <a:pt x="19430" y="3240"/>
                  <a:pt x="15544" y="0"/>
                  <a:pt x="10816" y="0"/>
                </a:cubicBezTo>
                <a:cubicBezTo>
                  <a:pt x="6056" y="0"/>
                  <a:pt x="2170" y="3240"/>
                  <a:pt x="2170" y="7209"/>
                </a:cubicBezTo>
                <a:lnTo>
                  <a:pt x="2170" y="9909"/>
                </a:lnTo>
                <a:lnTo>
                  <a:pt x="0" y="9909"/>
                </a:lnTo>
                <a:lnTo>
                  <a:pt x="0" y="20682"/>
                </a:lnTo>
                <a:cubicBezTo>
                  <a:pt x="0" y="21195"/>
                  <a:pt x="486" y="21600"/>
                  <a:pt x="1101" y="21600"/>
                </a:cubicBezTo>
                <a:lnTo>
                  <a:pt x="20531" y="21600"/>
                </a:lnTo>
                <a:cubicBezTo>
                  <a:pt x="21114" y="21600"/>
                  <a:pt x="21600" y="21195"/>
                  <a:pt x="21600" y="20682"/>
                </a:cubicBezTo>
                <a:lnTo>
                  <a:pt x="21600" y="9909"/>
                </a:lnTo>
                <a:lnTo>
                  <a:pt x="19430" y="9909"/>
                </a:lnTo>
                <a:close/>
              </a:path>
            </a:pathLst>
          </a:custGeom>
          <a:solidFill>
            <a:srgbClr val="FBAB2C"/>
          </a:solidFill>
          <a:ln w="12700">
            <a:noFill/>
            <a:miter lim="400000"/>
          </a:ln>
        </p:spPr>
        <p:txBody>
          <a:bodyPr lIns="45695" rIns="45695"/>
          <a:lstStyle/>
          <a:p>
            <a:pPr marL="0" marR="0" lvl="0" indent="0" algn="l" defTabSz="685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sz="1300">
                <a:latin typeface="CiscoSansTT ExtraLight"/>
                <a:ea typeface="CiscoSansTT ExtraLight"/>
                <a:cs typeface="CiscoSansTT ExtraLight"/>
                <a:sym typeface="CiscoSansTT ExtraLight"/>
              </a:defRPr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" panose="020B0503020202020204" pitchFamily="34" charset="0"/>
              <a:ea typeface="CiscoSansTT ExtraLight"/>
              <a:cs typeface="CiscoSansTT" panose="020B0503020201020303" pitchFamily="34" charset="0"/>
              <a:sym typeface="CiscoSansTT ExtraLight"/>
            </a:endParaRPr>
          </a:p>
        </p:txBody>
      </p:sp>
      <p:sp>
        <p:nvSpPr>
          <p:cNvPr id="1034" name="TextBox 1033">
            <a:extLst>
              <a:ext uri="{FF2B5EF4-FFF2-40B4-BE49-F238E27FC236}">
                <a16:creationId xmlns:a16="http://schemas.microsoft.com/office/drawing/2014/main" id="{D50055F5-0F4A-A322-C38F-4969E50D39F9}"/>
              </a:ext>
            </a:extLst>
          </p:cNvPr>
          <p:cNvSpPr txBox="1"/>
          <p:nvPr/>
        </p:nvSpPr>
        <p:spPr>
          <a:xfrm>
            <a:off x="4747759" y="4125122"/>
            <a:ext cx="51167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>
                <a:solidFill>
                  <a:schemeClr val="tx1"/>
                </a:solidFill>
              </a:rPr>
              <a:t>Gway</a:t>
            </a:r>
            <a:endParaRPr lang="en-FR" sz="1000" dirty="0">
              <a:solidFill>
                <a:schemeClr val="tx1"/>
              </a:solidFill>
            </a:endParaRPr>
          </a:p>
        </p:txBody>
      </p:sp>
      <p:cxnSp>
        <p:nvCxnSpPr>
          <p:cNvPr id="1041" name="Straight Arrow Connector 1040">
            <a:extLst>
              <a:ext uri="{FF2B5EF4-FFF2-40B4-BE49-F238E27FC236}">
                <a16:creationId xmlns:a16="http://schemas.microsoft.com/office/drawing/2014/main" id="{87DC2A8E-5DF3-D5CF-8690-BED0E8490D53}"/>
              </a:ext>
            </a:extLst>
          </p:cNvPr>
          <p:cNvCxnSpPr>
            <a:cxnSpLocks/>
          </p:cNvCxnSpPr>
          <p:nvPr/>
        </p:nvCxnSpPr>
        <p:spPr>
          <a:xfrm flipH="1">
            <a:off x="3382756" y="3066169"/>
            <a:ext cx="1458872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5" name="TextBox 1044">
            <a:extLst>
              <a:ext uri="{FF2B5EF4-FFF2-40B4-BE49-F238E27FC236}">
                <a16:creationId xmlns:a16="http://schemas.microsoft.com/office/drawing/2014/main" id="{4A9BAFB9-FF2C-8A71-3453-B5288D014F52}"/>
              </a:ext>
            </a:extLst>
          </p:cNvPr>
          <p:cNvSpPr txBox="1"/>
          <p:nvPr/>
        </p:nvSpPr>
        <p:spPr>
          <a:xfrm>
            <a:off x="3938197" y="2844953"/>
            <a:ext cx="5325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FR" sz="1000" dirty="0">
                <a:solidFill>
                  <a:schemeClr val="tx1"/>
                </a:solidFill>
              </a:rPr>
              <a:t>traces</a:t>
            </a:r>
          </a:p>
        </p:txBody>
      </p:sp>
      <p:cxnSp>
        <p:nvCxnSpPr>
          <p:cNvPr id="1046" name="Straight Arrow Connector 1045">
            <a:extLst>
              <a:ext uri="{FF2B5EF4-FFF2-40B4-BE49-F238E27FC236}">
                <a16:creationId xmlns:a16="http://schemas.microsoft.com/office/drawing/2014/main" id="{F576924A-7CD8-4A94-0579-BE97C03E4C2D}"/>
              </a:ext>
            </a:extLst>
          </p:cNvPr>
          <p:cNvCxnSpPr>
            <a:cxnSpLocks/>
          </p:cNvCxnSpPr>
          <p:nvPr/>
        </p:nvCxnSpPr>
        <p:spPr>
          <a:xfrm>
            <a:off x="4383511" y="4080522"/>
            <a:ext cx="44639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0" name="Straight Connector 1049">
            <a:extLst>
              <a:ext uri="{FF2B5EF4-FFF2-40B4-BE49-F238E27FC236}">
                <a16:creationId xmlns:a16="http://schemas.microsoft.com/office/drawing/2014/main" id="{55D463F5-1F25-2D56-1DE6-1C57710135B7}"/>
              </a:ext>
            </a:extLst>
          </p:cNvPr>
          <p:cNvCxnSpPr/>
          <p:nvPr/>
        </p:nvCxnSpPr>
        <p:spPr>
          <a:xfrm flipV="1">
            <a:off x="4378222" y="3080135"/>
            <a:ext cx="0" cy="10003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ubtitle 9">
            <a:extLst>
              <a:ext uri="{FF2B5EF4-FFF2-40B4-BE49-F238E27FC236}">
                <a16:creationId xmlns:a16="http://schemas.microsoft.com/office/drawing/2014/main" id="{DC4C3E5C-DDF7-16AC-D2FD-B36EAF698C5D}"/>
              </a:ext>
            </a:extLst>
          </p:cNvPr>
          <p:cNvSpPr>
            <a:spLocks noGrp="1"/>
          </p:cNvSpPr>
          <p:nvPr>
            <p:ph type="subTitle" idx="3"/>
          </p:nvPr>
        </p:nvSpPr>
        <p:spPr/>
        <p:txBody>
          <a:bodyPr/>
          <a:lstStyle/>
          <a:p>
            <a:endParaRPr lang="en-FR"/>
          </a:p>
        </p:txBody>
      </p:sp>
    </p:spTree>
    <p:extLst>
      <p:ext uri="{BB962C8B-B14F-4D97-AF65-F5344CB8AC3E}">
        <p14:creationId xmlns:p14="http://schemas.microsoft.com/office/powerpoint/2010/main" val="29537388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A616ADC0-E85B-1D1E-7E49-0960E540575E}"/>
              </a:ext>
            </a:extLst>
          </p:cNvPr>
          <p:cNvSpPr/>
          <p:nvPr/>
        </p:nvSpPr>
        <p:spPr>
          <a:xfrm>
            <a:off x="3278430" y="3872896"/>
            <a:ext cx="1624670" cy="624721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R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3000F37-6C50-D8A2-A6D3-070C60E1A230}"/>
              </a:ext>
            </a:extLst>
          </p:cNvPr>
          <p:cNvSpPr/>
          <p:nvPr/>
        </p:nvSpPr>
        <p:spPr>
          <a:xfrm>
            <a:off x="2180027" y="3753714"/>
            <a:ext cx="917835" cy="945531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F8AA61-07CC-9646-B39A-0823DD48D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 go further with Opensource projects	</a:t>
            </a:r>
          </a:p>
        </p:txBody>
      </p:sp>
      <p:sp>
        <p:nvSpPr>
          <p:cNvPr id="14" name="Subtitle 13">
            <a:extLst>
              <a:ext uri="{FF2B5EF4-FFF2-40B4-BE49-F238E27FC236}">
                <a16:creationId xmlns:a16="http://schemas.microsoft.com/office/drawing/2014/main" id="{A741AC07-9D35-A03F-85F4-324B91119A0E}"/>
              </a:ext>
            </a:extLst>
          </p:cNvPr>
          <p:cNvSpPr>
            <a:spLocks noGrp="1"/>
          </p:cNvSpPr>
          <p:nvPr>
            <p:ph type="subTitle" idx="2"/>
          </p:nvPr>
        </p:nvSpPr>
        <p:spPr/>
        <p:txBody>
          <a:bodyPr/>
          <a:lstStyle/>
          <a:p>
            <a:r>
              <a:rPr lang="en-FR" dirty="0"/>
              <a:t>Cloud Native Application Secure Connectivity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3635C5AE-A6B2-6524-FDD4-874C60BC95E6}"/>
              </a:ext>
            </a:extLst>
          </p:cNvPr>
          <p:cNvGrpSpPr/>
          <p:nvPr/>
        </p:nvGrpSpPr>
        <p:grpSpPr>
          <a:xfrm rot="16200000">
            <a:off x="4000500" y="957270"/>
            <a:ext cx="1143000" cy="6541008"/>
            <a:chOff x="2378253" y="984082"/>
            <a:chExt cx="1143000" cy="3499338"/>
          </a:xfrm>
        </p:grpSpPr>
        <p:sp>
          <p:nvSpPr>
            <p:cNvPr id="44" name="Rounded Rectangle 43">
              <a:extLst>
                <a:ext uri="{FF2B5EF4-FFF2-40B4-BE49-F238E27FC236}">
                  <a16:creationId xmlns:a16="http://schemas.microsoft.com/office/drawing/2014/main" id="{726C8D4C-36D9-A60E-9EB5-79639B471BA5}"/>
                </a:ext>
              </a:extLst>
            </p:cNvPr>
            <p:cNvSpPr/>
            <p:nvPr/>
          </p:nvSpPr>
          <p:spPr>
            <a:xfrm>
              <a:off x="2378253" y="984082"/>
              <a:ext cx="1143000" cy="3499338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R"/>
            </a:p>
          </p:txBody>
        </p:sp>
        <p:sp>
          <p:nvSpPr>
            <p:cNvPr id="45" name="Rounded Rectangle 44">
              <a:extLst>
                <a:ext uri="{FF2B5EF4-FFF2-40B4-BE49-F238E27FC236}">
                  <a16:creationId xmlns:a16="http://schemas.microsoft.com/office/drawing/2014/main" id="{395D2A1E-4D38-39B2-2E34-22F13B081D9F}"/>
                </a:ext>
              </a:extLst>
            </p:cNvPr>
            <p:cNvSpPr/>
            <p:nvPr/>
          </p:nvSpPr>
          <p:spPr>
            <a:xfrm>
              <a:off x="2378253" y="984082"/>
              <a:ext cx="1143000" cy="235680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R" sz="1200" dirty="0">
                  <a:solidFill>
                    <a:schemeClr val="tx1"/>
                  </a:solidFill>
                </a:rPr>
                <a:t>CNI</a:t>
              </a:r>
            </a:p>
          </p:txBody>
        </p:sp>
      </p:grpSp>
      <p:pic>
        <p:nvPicPr>
          <p:cNvPr id="3" name="Picture 2" descr="Istio">
            <a:extLst>
              <a:ext uri="{FF2B5EF4-FFF2-40B4-BE49-F238E27FC236}">
                <a16:creationId xmlns:a16="http://schemas.microsoft.com/office/drawing/2014/main" id="{A781A104-37E5-301A-3891-2EA7083F79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2165" y="2533996"/>
            <a:ext cx="717228" cy="717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E2C2E79-6972-9269-F18E-C3944EDC6DA4}"/>
              </a:ext>
            </a:extLst>
          </p:cNvPr>
          <p:cNvSpPr txBox="1"/>
          <p:nvPr/>
        </p:nvSpPr>
        <p:spPr>
          <a:xfrm>
            <a:off x="3444138" y="3251224"/>
            <a:ext cx="5132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FR" dirty="0">
                <a:solidFill>
                  <a:schemeClr val="tx1"/>
                </a:solidFill>
              </a:rPr>
              <a:t>Istio</a:t>
            </a:r>
          </a:p>
        </p:txBody>
      </p:sp>
      <p:pic>
        <p:nvPicPr>
          <p:cNvPr id="6" name="Picture 6" descr="CNCF Branding | Envoy">
            <a:extLst>
              <a:ext uri="{FF2B5EF4-FFF2-40B4-BE49-F238E27FC236}">
                <a16:creationId xmlns:a16="http://schemas.microsoft.com/office/drawing/2014/main" id="{A717A3E8-5CB3-FF3D-DBE1-29301030B4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1175" y="2533996"/>
            <a:ext cx="717228" cy="717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D5CA156-4127-2C02-F047-5225A6F5BF4F}"/>
              </a:ext>
            </a:extLst>
          </p:cNvPr>
          <p:cNvSpPr txBox="1"/>
          <p:nvPr/>
        </p:nvSpPr>
        <p:spPr>
          <a:xfrm>
            <a:off x="4390119" y="3251224"/>
            <a:ext cx="6832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FR" dirty="0">
                <a:solidFill>
                  <a:schemeClr val="tx1"/>
                </a:solidFill>
              </a:rPr>
              <a:t>Envoy</a:t>
            </a:r>
          </a:p>
        </p:txBody>
      </p:sp>
      <p:pic>
        <p:nvPicPr>
          <p:cNvPr id="1040" name="Picture 16" descr="Cilium · GitHub">
            <a:extLst>
              <a:ext uri="{FF2B5EF4-FFF2-40B4-BE49-F238E27FC236}">
                <a16:creationId xmlns:a16="http://schemas.microsoft.com/office/drawing/2014/main" id="{DF82A04D-3BB3-D952-5717-FF0B8884C4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2331" y="3758199"/>
            <a:ext cx="925786" cy="925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eBPF - Wikipedia">
            <a:extLst>
              <a:ext uri="{FF2B5EF4-FFF2-40B4-BE49-F238E27FC236}">
                <a16:creationId xmlns:a16="http://schemas.microsoft.com/office/drawing/2014/main" id="{6425BD05-52CD-A65D-C8D7-C2FFFBE639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9671" y="3932964"/>
            <a:ext cx="1434686" cy="499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Project Calico · GitHub">
            <a:extLst>
              <a:ext uri="{FF2B5EF4-FFF2-40B4-BE49-F238E27FC236}">
                <a16:creationId xmlns:a16="http://schemas.microsoft.com/office/drawing/2014/main" id="{C5F28C85-B489-BA01-4982-15763870EF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5442" y="3703228"/>
            <a:ext cx="879035" cy="879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B406A91B-64E3-9BA7-4D5F-3B8E3E6B6D80}"/>
              </a:ext>
            </a:extLst>
          </p:cNvPr>
          <p:cNvSpPr txBox="1"/>
          <p:nvPr/>
        </p:nvSpPr>
        <p:spPr>
          <a:xfrm>
            <a:off x="5143337" y="4491498"/>
            <a:ext cx="6832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FR" dirty="0">
                <a:solidFill>
                  <a:schemeClr val="tx1"/>
                </a:solidFill>
              </a:rPr>
              <a:t>Calico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56C6B49-0FE0-52A0-F5D8-94349B373808}"/>
              </a:ext>
            </a:extLst>
          </p:cNvPr>
          <p:cNvGrpSpPr/>
          <p:nvPr/>
        </p:nvGrpSpPr>
        <p:grpSpPr>
          <a:xfrm rot="16200000">
            <a:off x="4000500" y="-270766"/>
            <a:ext cx="1143000" cy="6541008"/>
            <a:chOff x="2378253" y="984082"/>
            <a:chExt cx="1143000" cy="3499338"/>
          </a:xfrm>
        </p:grpSpPr>
        <p:sp>
          <p:nvSpPr>
            <p:cNvPr id="57" name="Rounded Rectangle 56">
              <a:extLst>
                <a:ext uri="{FF2B5EF4-FFF2-40B4-BE49-F238E27FC236}">
                  <a16:creationId xmlns:a16="http://schemas.microsoft.com/office/drawing/2014/main" id="{F207F5DF-2AB7-8A1A-3C9A-6D87D6AF460D}"/>
                </a:ext>
              </a:extLst>
            </p:cNvPr>
            <p:cNvSpPr/>
            <p:nvPr/>
          </p:nvSpPr>
          <p:spPr>
            <a:xfrm>
              <a:off x="2378253" y="984082"/>
              <a:ext cx="1143000" cy="3499338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R"/>
            </a:p>
          </p:txBody>
        </p:sp>
        <p:sp>
          <p:nvSpPr>
            <p:cNvPr id="58" name="Rounded Rectangle 57">
              <a:extLst>
                <a:ext uri="{FF2B5EF4-FFF2-40B4-BE49-F238E27FC236}">
                  <a16:creationId xmlns:a16="http://schemas.microsoft.com/office/drawing/2014/main" id="{5C073040-0C47-26D4-30E6-C08966B0F910}"/>
                </a:ext>
              </a:extLst>
            </p:cNvPr>
            <p:cNvSpPr/>
            <p:nvPr/>
          </p:nvSpPr>
          <p:spPr>
            <a:xfrm>
              <a:off x="2378253" y="984082"/>
              <a:ext cx="1143000" cy="235680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R" sz="1200" dirty="0">
                  <a:solidFill>
                    <a:schemeClr val="tx1"/>
                  </a:solidFill>
                </a:rPr>
                <a:t>Service</a:t>
              </a:r>
            </a:p>
            <a:p>
              <a:pPr algn="ctr"/>
              <a:r>
                <a:rPr lang="en-FR" sz="1200" dirty="0">
                  <a:solidFill>
                    <a:schemeClr val="tx1"/>
                  </a:solidFill>
                </a:rPr>
                <a:t>Mesh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B19A7BEB-29FA-E253-394F-8286A232A84B}"/>
              </a:ext>
            </a:extLst>
          </p:cNvPr>
          <p:cNvGrpSpPr/>
          <p:nvPr/>
        </p:nvGrpSpPr>
        <p:grpSpPr>
          <a:xfrm rot="16200000">
            <a:off x="4000500" y="-1520894"/>
            <a:ext cx="1143000" cy="6541008"/>
            <a:chOff x="2378253" y="984082"/>
            <a:chExt cx="1143000" cy="3499338"/>
          </a:xfrm>
        </p:grpSpPr>
        <p:sp>
          <p:nvSpPr>
            <p:cNvPr id="60" name="Rounded Rectangle 59">
              <a:extLst>
                <a:ext uri="{FF2B5EF4-FFF2-40B4-BE49-F238E27FC236}">
                  <a16:creationId xmlns:a16="http://schemas.microsoft.com/office/drawing/2014/main" id="{78798632-C297-2117-5D94-DF591D305B2D}"/>
                </a:ext>
              </a:extLst>
            </p:cNvPr>
            <p:cNvSpPr/>
            <p:nvPr/>
          </p:nvSpPr>
          <p:spPr>
            <a:xfrm>
              <a:off x="2378253" y="984082"/>
              <a:ext cx="1143000" cy="3499338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R"/>
            </a:p>
          </p:txBody>
        </p:sp>
        <p:sp>
          <p:nvSpPr>
            <p:cNvPr id="61" name="Rounded Rectangle 60">
              <a:extLst>
                <a:ext uri="{FF2B5EF4-FFF2-40B4-BE49-F238E27FC236}">
                  <a16:creationId xmlns:a16="http://schemas.microsoft.com/office/drawing/2014/main" id="{F278F2ED-CE2D-3922-8912-D2301912F151}"/>
                </a:ext>
              </a:extLst>
            </p:cNvPr>
            <p:cNvSpPr/>
            <p:nvPr/>
          </p:nvSpPr>
          <p:spPr>
            <a:xfrm>
              <a:off x="2378253" y="984082"/>
              <a:ext cx="1143000" cy="235680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R" sz="1200" dirty="0">
                  <a:solidFill>
                    <a:schemeClr val="tx1"/>
                  </a:solidFill>
                </a:rPr>
                <a:t>Identity</a:t>
              </a:r>
            </a:p>
            <a:p>
              <a:pPr algn="ctr"/>
              <a:r>
                <a:rPr lang="en-FR" sz="1200" dirty="0">
                  <a:solidFill>
                    <a:schemeClr val="tx1"/>
                  </a:solidFill>
                </a:rPr>
                <a:t>Management</a:t>
              </a:r>
            </a:p>
          </p:txBody>
        </p:sp>
      </p:grpSp>
      <p:pic>
        <p:nvPicPr>
          <p:cNvPr id="1046" name="Picture 22" descr="cert-manager · GitHub">
            <a:extLst>
              <a:ext uri="{FF2B5EF4-FFF2-40B4-BE49-F238E27FC236}">
                <a16:creationId xmlns:a16="http://schemas.microsoft.com/office/drawing/2014/main" id="{E94799E7-DF3C-347B-3659-DBBE9077C2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229" y="1326182"/>
            <a:ext cx="840723" cy="840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 descr="WebAssembly — Wikipédia">
            <a:extLst>
              <a:ext uri="{FF2B5EF4-FFF2-40B4-BE49-F238E27FC236}">
                <a16:creationId xmlns:a16="http://schemas.microsoft.com/office/drawing/2014/main" id="{8F125728-365D-61CC-A56D-AD5F0ACC75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0185" y="2598548"/>
            <a:ext cx="616288" cy="616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 descr="SPIFFE – Secure Production Identity Framework for Everyone">
            <a:extLst>
              <a:ext uri="{FF2B5EF4-FFF2-40B4-BE49-F238E27FC236}">
                <a16:creationId xmlns:a16="http://schemas.microsoft.com/office/drawing/2014/main" id="{8ADD8A38-AA90-46C1-3184-5CFE3BA9ED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2027" y="1355887"/>
            <a:ext cx="764574" cy="764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9A3141BB-11B1-2624-12F3-9F469D0901E1}"/>
              </a:ext>
            </a:extLst>
          </p:cNvPr>
          <p:cNvSpPr txBox="1"/>
          <p:nvPr/>
        </p:nvSpPr>
        <p:spPr>
          <a:xfrm>
            <a:off x="4821759" y="2042584"/>
            <a:ext cx="7248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FR" dirty="0">
                <a:solidFill>
                  <a:schemeClr val="tx1"/>
                </a:solidFill>
              </a:rPr>
              <a:t>SPIRE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B4E9997-8AE7-B008-7712-66E2AE77681F}"/>
              </a:ext>
            </a:extLst>
          </p:cNvPr>
          <p:cNvSpPr txBox="1"/>
          <p:nvPr/>
        </p:nvSpPr>
        <p:spPr>
          <a:xfrm>
            <a:off x="5177956" y="3272025"/>
            <a:ext cx="13308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FR" dirty="0">
                <a:solidFill>
                  <a:schemeClr val="tx1"/>
                </a:solidFill>
              </a:rPr>
              <a:t>WebAssembly</a:t>
            </a:r>
          </a:p>
        </p:txBody>
      </p:sp>
      <p:pic>
        <p:nvPicPr>
          <p:cNvPr id="1056" name="Picture 32" descr="fd.io Intro">
            <a:extLst>
              <a:ext uri="{FF2B5EF4-FFF2-40B4-BE49-F238E27FC236}">
                <a16:creationId xmlns:a16="http://schemas.microsoft.com/office/drawing/2014/main" id="{6A702019-C9B9-F328-ADF4-0B75A9BC18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3640" y="3855981"/>
            <a:ext cx="1167168" cy="653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18006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Box 38">
            <a:extLst>
              <a:ext uri="{FF2B5EF4-FFF2-40B4-BE49-F238E27FC236}">
                <a16:creationId xmlns:a16="http://schemas.microsoft.com/office/drawing/2014/main" id="{8E3FF8F9-5A1E-0147-A7E8-D57A610125A6}"/>
              </a:ext>
            </a:extLst>
          </p:cNvPr>
          <p:cNvSpPr txBox="1"/>
          <p:nvPr/>
        </p:nvSpPr>
        <p:spPr>
          <a:xfrm>
            <a:off x="7162550" y="1818067"/>
            <a:ext cx="1134059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D274D"/>
                </a:solidFill>
                <a:effectLst/>
                <a:uLnTx/>
                <a:uFillTx/>
                <a:latin typeface="CiscoSansTT" panose="020B0503020201020303" pitchFamily="34" charset="0"/>
                <a:cs typeface="CiscoSansTT" panose="020B0503020201020303" pitchFamily="34" charset="0"/>
                <a:sym typeface="Arial"/>
              </a:rPr>
              <a:t>Picks up cash </a:t>
            </a:r>
            <a:b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D274D"/>
                </a:solidFill>
                <a:effectLst/>
                <a:uLnTx/>
                <a:uFillTx/>
                <a:latin typeface="CiscoSansTT" panose="020B0503020201020303" pitchFamily="34" charset="0"/>
                <a:cs typeface="CiscoSansTT" panose="020B0503020201020303" pitchFamily="34" charset="0"/>
                <a:sym typeface="Arial"/>
              </a:rPr>
            </a:br>
            <a:r>
              <a:rPr kumimoji="0" lang="en-US" sz="750" b="0" i="0" u="none" strike="noStrike" kern="0" cap="none" spc="0" normalizeH="0" baseline="0" noProof="0" dirty="0">
                <a:ln>
                  <a:noFill/>
                </a:ln>
                <a:solidFill>
                  <a:srgbClr val="0D274D"/>
                </a:solidFill>
                <a:effectLst/>
                <a:uLnTx/>
                <a:uFillTx/>
                <a:latin typeface="CiscoSansTT" panose="020B0503020201020303" pitchFamily="34" charset="0"/>
                <a:cs typeface="CiscoSansTT" panose="020B0503020201020303" pitchFamily="34" charset="0"/>
                <a:sym typeface="Arial"/>
              </a:rPr>
              <a:t>without touching ATM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65939F4C-018B-2F40-BCBC-9484AF67A49C}"/>
              </a:ext>
            </a:extLst>
          </p:cNvPr>
          <p:cNvCxnSpPr>
            <a:cxnSpLocks/>
          </p:cNvCxnSpPr>
          <p:nvPr/>
        </p:nvCxnSpPr>
        <p:spPr>
          <a:xfrm>
            <a:off x="7551313" y="3601593"/>
            <a:ext cx="0" cy="262241"/>
          </a:xfrm>
          <a:prstGeom prst="line">
            <a:avLst/>
          </a:prstGeom>
          <a:solidFill>
            <a:srgbClr val="00BCEB"/>
          </a:solidFill>
          <a:ln w="19050">
            <a:solidFill>
              <a:srgbClr val="903AFF"/>
            </a:solidFill>
            <a:headEnd type="oval" w="med" len="med"/>
            <a:tailEnd w="lg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7531CADC-FD3D-424B-9022-ACCED6B67ADC}"/>
              </a:ext>
            </a:extLst>
          </p:cNvPr>
          <p:cNvCxnSpPr>
            <a:cxnSpLocks/>
          </p:cNvCxnSpPr>
          <p:nvPr/>
        </p:nvCxnSpPr>
        <p:spPr>
          <a:xfrm>
            <a:off x="2155260" y="3863833"/>
            <a:ext cx="5403673" cy="0"/>
          </a:xfrm>
          <a:prstGeom prst="line">
            <a:avLst/>
          </a:prstGeom>
          <a:solidFill>
            <a:srgbClr val="00BCEB"/>
          </a:solidFill>
          <a:ln w="19050">
            <a:solidFill>
              <a:srgbClr val="903AFF"/>
            </a:solidFill>
            <a:headEnd type="none" w="med" len="med"/>
            <a:tailEnd w="lg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C0DC8E0-FC22-8644-8178-14E004C09FE5}"/>
              </a:ext>
            </a:extLst>
          </p:cNvPr>
          <p:cNvCxnSpPr>
            <a:cxnSpLocks/>
          </p:cNvCxnSpPr>
          <p:nvPr/>
        </p:nvCxnSpPr>
        <p:spPr>
          <a:xfrm>
            <a:off x="6987433" y="3601593"/>
            <a:ext cx="0" cy="262241"/>
          </a:xfrm>
          <a:prstGeom prst="line">
            <a:avLst/>
          </a:prstGeom>
          <a:solidFill>
            <a:srgbClr val="00BCEB"/>
          </a:solidFill>
          <a:ln w="19050">
            <a:solidFill>
              <a:srgbClr val="903AFF"/>
            </a:solidFill>
            <a:headEnd type="oval" w="med" len="med"/>
            <a:tailEnd w="lg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8D9C3DA4-3506-3A43-8FEF-703636EFA6C0}"/>
              </a:ext>
            </a:extLst>
          </p:cNvPr>
          <p:cNvCxnSpPr>
            <a:cxnSpLocks/>
          </p:cNvCxnSpPr>
          <p:nvPr/>
        </p:nvCxnSpPr>
        <p:spPr>
          <a:xfrm>
            <a:off x="5836813" y="3601593"/>
            <a:ext cx="0" cy="262241"/>
          </a:xfrm>
          <a:prstGeom prst="line">
            <a:avLst/>
          </a:prstGeom>
          <a:solidFill>
            <a:srgbClr val="00BCEB"/>
          </a:solidFill>
          <a:ln w="19050">
            <a:solidFill>
              <a:srgbClr val="903AFF"/>
            </a:solidFill>
            <a:headEnd type="oval" w="med" len="med"/>
            <a:tailEnd w="lg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DDAE1337-9689-CF4C-8CB2-FF334C8D6D40}"/>
              </a:ext>
            </a:extLst>
          </p:cNvPr>
          <p:cNvCxnSpPr>
            <a:cxnSpLocks/>
          </p:cNvCxnSpPr>
          <p:nvPr/>
        </p:nvCxnSpPr>
        <p:spPr>
          <a:xfrm>
            <a:off x="4533793" y="3601593"/>
            <a:ext cx="0" cy="262241"/>
          </a:xfrm>
          <a:prstGeom prst="line">
            <a:avLst/>
          </a:prstGeom>
          <a:solidFill>
            <a:srgbClr val="00BCEB"/>
          </a:solidFill>
          <a:ln w="19050">
            <a:solidFill>
              <a:srgbClr val="903AFF"/>
            </a:solidFill>
            <a:headEnd type="oval" w="med" len="med"/>
            <a:tailEnd w="lg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DEB3F2D2-D12A-E243-BC43-519B8F0CD736}"/>
              </a:ext>
            </a:extLst>
          </p:cNvPr>
          <p:cNvCxnSpPr>
            <a:cxnSpLocks/>
          </p:cNvCxnSpPr>
          <p:nvPr/>
        </p:nvCxnSpPr>
        <p:spPr>
          <a:xfrm>
            <a:off x="3268873" y="3601593"/>
            <a:ext cx="0" cy="262241"/>
          </a:xfrm>
          <a:prstGeom prst="line">
            <a:avLst/>
          </a:prstGeom>
          <a:solidFill>
            <a:srgbClr val="00BCEB"/>
          </a:solidFill>
          <a:ln w="19050">
            <a:solidFill>
              <a:srgbClr val="903AFF"/>
            </a:solidFill>
            <a:headEnd type="oval" w="med" len="med"/>
            <a:tailEnd w="lg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465EFBA6-A284-4246-9EE9-7FA6A35CB7CD}"/>
              </a:ext>
            </a:extLst>
          </p:cNvPr>
          <p:cNvCxnSpPr>
            <a:cxnSpLocks/>
          </p:cNvCxnSpPr>
          <p:nvPr/>
        </p:nvCxnSpPr>
        <p:spPr>
          <a:xfrm>
            <a:off x="2163973" y="3601593"/>
            <a:ext cx="0" cy="262241"/>
          </a:xfrm>
          <a:prstGeom prst="line">
            <a:avLst/>
          </a:prstGeom>
          <a:solidFill>
            <a:srgbClr val="00BCEB"/>
          </a:solidFill>
          <a:ln w="19050">
            <a:solidFill>
              <a:srgbClr val="903AFF"/>
            </a:solidFill>
            <a:headEnd type="oval" w="med" len="med"/>
            <a:tailEnd w="lg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67" name="Group 66">
            <a:extLst>
              <a:ext uri="{FF2B5EF4-FFF2-40B4-BE49-F238E27FC236}">
                <a16:creationId xmlns:a16="http://schemas.microsoft.com/office/drawing/2014/main" id="{8209D659-5021-4C7D-A0C1-7270AA0F00AC}"/>
              </a:ext>
            </a:extLst>
          </p:cNvPr>
          <p:cNvGrpSpPr/>
          <p:nvPr/>
        </p:nvGrpSpPr>
        <p:grpSpPr>
          <a:xfrm>
            <a:off x="358273" y="1207727"/>
            <a:ext cx="8386280" cy="1048921"/>
            <a:chOff x="358273" y="1207727"/>
            <a:chExt cx="8386280" cy="1048921"/>
          </a:xfrm>
        </p:grpSpPr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4308160-DE75-4FDE-8E36-AA2D189C53DF}"/>
                </a:ext>
              </a:extLst>
            </p:cNvPr>
            <p:cNvCxnSpPr>
              <a:cxnSpLocks/>
            </p:cNvCxnSpPr>
            <p:nvPr/>
          </p:nvCxnSpPr>
          <p:spPr>
            <a:xfrm>
              <a:off x="1782532" y="1589785"/>
              <a:ext cx="6276220" cy="2555"/>
            </a:xfrm>
            <a:prstGeom prst="line">
              <a:avLst/>
            </a:prstGeom>
            <a:noFill/>
            <a:ln w="38100" cap="rnd">
              <a:solidFill>
                <a:schemeClr val="tx1"/>
              </a:solidFill>
              <a:prstDash val="sysDot"/>
            </a:ln>
          </p:spPr>
        </p:cxnSp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66D9F383-CEA4-479B-A3FF-2AEA729E14E2}"/>
                </a:ext>
              </a:extLst>
            </p:cNvPr>
            <p:cNvSpPr/>
            <p:nvPr/>
          </p:nvSpPr>
          <p:spPr>
            <a:xfrm>
              <a:off x="6827733" y="1345072"/>
              <a:ext cx="753399" cy="49197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D274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D822AD46-9EE7-4AE8-BD37-F6B8DB7F4E20}"/>
                </a:ext>
              </a:extLst>
            </p:cNvPr>
            <p:cNvSpPr/>
            <p:nvPr/>
          </p:nvSpPr>
          <p:spPr>
            <a:xfrm>
              <a:off x="1979927" y="1278276"/>
              <a:ext cx="688220" cy="49197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D274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71" name="Graphic 70">
              <a:extLst>
                <a:ext uri="{FF2B5EF4-FFF2-40B4-BE49-F238E27FC236}">
                  <a16:creationId xmlns:a16="http://schemas.microsoft.com/office/drawing/2014/main" id="{856926F4-F46E-46AB-A7AF-469C250962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058753" y="1207727"/>
              <a:ext cx="685800" cy="685799"/>
            </a:xfrm>
            <a:prstGeom prst="rect">
              <a:avLst/>
            </a:prstGeom>
          </p:spPr>
        </p:pic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6EF52BB-E582-46E0-8182-5DF2CA564342}"/>
                </a:ext>
              </a:extLst>
            </p:cNvPr>
            <p:cNvSpPr/>
            <p:nvPr/>
          </p:nvSpPr>
          <p:spPr>
            <a:xfrm>
              <a:off x="358273" y="1408136"/>
              <a:ext cx="1319592" cy="30405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cs typeface="CiscoSansTT Light" panose="020B0503020201020303" pitchFamily="34" charset="0"/>
                  <a:sym typeface="Arial"/>
                </a:rPr>
                <a:t>Customer Journey</a:t>
              </a: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04F1E5BD-842F-4C3A-8D12-251F0D4EA37D}"/>
                </a:ext>
              </a:extLst>
            </p:cNvPr>
            <p:cNvCxnSpPr>
              <a:cxnSpLocks/>
            </p:cNvCxnSpPr>
            <p:nvPr/>
          </p:nvCxnSpPr>
          <p:spPr>
            <a:xfrm>
              <a:off x="1674697" y="1402158"/>
              <a:ext cx="0" cy="364516"/>
            </a:xfrm>
            <a:prstGeom prst="line">
              <a:avLst/>
            </a:prstGeom>
            <a:ln w="50800" cap="rnd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B55A9886-E89B-4605-B962-C6C0237AB0E8}"/>
                </a:ext>
              </a:extLst>
            </p:cNvPr>
            <p:cNvGrpSpPr/>
            <p:nvPr/>
          </p:nvGrpSpPr>
          <p:grpSpPr>
            <a:xfrm>
              <a:off x="6859858" y="1389693"/>
              <a:ext cx="669782" cy="413515"/>
              <a:chOff x="9324892" y="3246698"/>
              <a:chExt cx="1022374" cy="631202"/>
            </a:xfrm>
          </p:grpSpPr>
          <p:pic>
            <p:nvPicPr>
              <p:cNvPr id="81" name="Picture 80">
                <a:extLst>
                  <a:ext uri="{FF2B5EF4-FFF2-40B4-BE49-F238E27FC236}">
                    <a16:creationId xmlns:a16="http://schemas.microsoft.com/office/drawing/2014/main" id="{2B5FAD4C-F4E4-4A68-A7A5-549CD381BB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lum bright="70000" contrast="-70000"/>
              </a:blip>
              <a:stretch>
                <a:fillRect/>
              </a:stretch>
            </p:blipFill>
            <p:spPr>
              <a:xfrm>
                <a:off x="9778559" y="3246698"/>
                <a:ext cx="568707" cy="631202"/>
              </a:xfrm>
              <a:prstGeom prst="rect">
                <a:avLst/>
              </a:prstGeom>
              <a:noFill/>
            </p:spPr>
          </p:pic>
          <p:pic>
            <p:nvPicPr>
              <p:cNvPr id="82" name="Picture 81">
                <a:extLst>
                  <a:ext uri="{FF2B5EF4-FFF2-40B4-BE49-F238E27FC236}">
                    <a16:creationId xmlns:a16="http://schemas.microsoft.com/office/drawing/2014/main" id="{070292D3-A0E4-4569-B286-BAE9641F65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lum bright="70000" contrast="-70000"/>
              </a:blip>
              <a:stretch>
                <a:fillRect/>
              </a:stretch>
            </p:blipFill>
            <p:spPr>
              <a:xfrm>
                <a:off x="9324892" y="3347615"/>
                <a:ext cx="446068" cy="430324"/>
              </a:xfrm>
              <a:prstGeom prst="rect">
                <a:avLst/>
              </a:prstGeom>
              <a:noFill/>
            </p:spPr>
          </p:pic>
        </p:grp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357DDC3-FE59-4CE6-81B4-4F53DDA0FDC2}"/>
                </a:ext>
              </a:extLst>
            </p:cNvPr>
            <p:cNvSpPr txBox="1"/>
            <p:nvPr/>
          </p:nvSpPr>
          <p:spPr>
            <a:xfrm>
              <a:off x="6034482" y="1818066"/>
              <a:ext cx="1134058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Authenticates on phone enters amount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9B7820A1-0F5A-4766-9104-27DF508DB95D}"/>
                </a:ext>
              </a:extLst>
            </p:cNvPr>
            <p:cNvSpPr txBox="1"/>
            <p:nvPr/>
          </p:nvSpPr>
          <p:spPr>
            <a:xfrm>
              <a:off x="7162551" y="1818066"/>
              <a:ext cx="1134058" cy="438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Picks up cash </a:t>
              </a:r>
              <a:b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</a:b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without touching ATM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5E6F931B-F849-4A64-B0AA-D21FADB0927A}"/>
                </a:ext>
              </a:extLst>
            </p:cNvPr>
            <p:cNvSpPr txBox="1"/>
            <p:nvPr/>
          </p:nvSpPr>
          <p:spPr>
            <a:xfrm>
              <a:off x="1770373" y="1818066"/>
              <a:ext cx="1012385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Customer locates and drives to ATM</a:t>
              </a: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5B8A970A-52A6-4062-B66D-BE9DC73D9CE1}"/>
                </a:ext>
              </a:extLst>
            </p:cNvPr>
            <p:cNvGrpSpPr/>
            <p:nvPr/>
          </p:nvGrpSpPr>
          <p:grpSpPr>
            <a:xfrm>
              <a:off x="2009423" y="1318376"/>
              <a:ext cx="688220" cy="451879"/>
              <a:chOff x="2639902" y="2135380"/>
              <a:chExt cx="872133" cy="602506"/>
            </a:xfrm>
          </p:grpSpPr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6ABFA2F1-0190-41E5-9DDF-AA4D8B39F59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hqprint">
                <a:lum bright="70000" contrast="-7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29559"/>
              <a:stretch/>
            </p:blipFill>
            <p:spPr>
              <a:xfrm>
                <a:off x="2639902" y="2260827"/>
                <a:ext cx="496765" cy="388374"/>
              </a:xfrm>
              <a:prstGeom prst="rect">
                <a:avLst/>
              </a:prstGeom>
              <a:noFill/>
            </p:spPr>
          </p:pic>
          <p:pic>
            <p:nvPicPr>
              <p:cNvPr id="80" name="Picture 79">
                <a:extLst>
                  <a:ext uri="{FF2B5EF4-FFF2-40B4-BE49-F238E27FC236}">
                    <a16:creationId xmlns:a16="http://schemas.microsoft.com/office/drawing/2014/main" id="{35E54F47-CA83-4417-81D8-BDA496A395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lum bright="70000" contrast="-70000"/>
              </a:blip>
              <a:stretch>
                <a:fillRect/>
              </a:stretch>
            </p:blipFill>
            <p:spPr>
              <a:xfrm>
                <a:off x="3102331" y="2135380"/>
                <a:ext cx="409704" cy="602506"/>
              </a:xfrm>
              <a:prstGeom prst="rect">
                <a:avLst/>
              </a:prstGeom>
              <a:noFill/>
            </p:spPr>
          </p:pic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544645D-7E8E-411D-8072-4D2879B5B1E9}"/>
              </a:ext>
            </a:extLst>
          </p:cNvPr>
          <p:cNvGrpSpPr/>
          <p:nvPr/>
        </p:nvGrpSpPr>
        <p:grpSpPr>
          <a:xfrm>
            <a:off x="435401" y="2246099"/>
            <a:ext cx="8318535" cy="1048814"/>
            <a:chOff x="435401" y="2246099"/>
            <a:chExt cx="8318535" cy="1048814"/>
          </a:xfrm>
        </p:grpSpPr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7A37F279-F671-9649-AE75-B6C6285CA0C4}"/>
                </a:ext>
              </a:extLst>
            </p:cNvPr>
            <p:cNvCxnSpPr>
              <a:cxnSpLocks/>
            </p:cNvCxnSpPr>
            <p:nvPr/>
          </p:nvCxnSpPr>
          <p:spPr>
            <a:xfrm>
              <a:off x="1754984" y="2598112"/>
              <a:ext cx="6276219" cy="2555"/>
            </a:xfrm>
            <a:prstGeom prst="line">
              <a:avLst/>
            </a:prstGeom>
            <a:noFill/>
            <a:ln w="38100" cap="rnd">
              <a:solidFill>
                <a:schemeClr val="tx1"/>
              </a:solidFill>
              <a:prstDash val="sysDot"/>
            </a:ln>
          </p:spPr>
        </p:cxnSp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90C3FDDF-9524-4684-838F-16540B94F04A}"/>
                </a:ext>
              </a:extLst>
            </p:cNvPr>
            <p:cNvSpPr/>
            <p:nvPr/>
          </p:nvSpPr>
          <p:spPr>
            <a:xfrm>
              <a:off x="1991912" y="2346672"/>
              <a:ext cx="325017" cy="491979"/>
            </a:xfrm>
            <a:prstGeom prst="roundRect">
              <a:avLst/>
            </a:prstGeom>
            <a:solidFill>
              <a:srgbClr val="0F02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D274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C556229B-0372-4E37-8BF6-69FB180C2BEB}"/>
                </a:ext>
              </a:extLst>
            </p:cNvPr>
            <p:cNvSpPr/>
            <p:nvPr/>
          </p:nvSpPr>
          <p:spPr>
            <a:xfrm>
              <a:off x="3076820" y="2332459"/>
              <a:ext cx="452844" cy="491979"/>
            </a:xfrm>
            <a:prstGeom prst="roundRect">
              <a:avLst/>
            </a:prstGeom>
            <a:solidFill>
              <a:srgbClr val="0F02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D274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E146B3D0-C21B-4CE6-B6DB-BFCD64113D49}"/>
                </a:ext>
              </a:extLst>
            </p:cNvPr>
            <p:cNvSpPr/>
            <p:nvPr/>
          </p:nvSpPr>
          <p:spPr>
            <a:xfrm>
              <a:off x="4268449" y="2321266"/>
              <a:ext cx="440823" cy="491979"/>
            </a:xfrm>
            <a:prstGeom prst="roundRect">
              <a:avLst/>
            </a:prstGeom>
            <a:solidFill>
              <a:srgbClr val="0F02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D274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id="{D2C5720F-D6E2-4D2A-92C6-10947F32E13D}"/>
                </a:ext>
              </a:extLst>
            </p:cNvPr>
            <p:cNvSpPr/>
            <p:nvPr/>
          </p:nvSpPr>
          <p:spPr>
            <a:xfrm>
              <a:off x="5498876" y="2313799"/>
              <a:ext cx="535606" cy="491979"/>
            </a:xfrm>
            <a:prstGeom prst="roundRect">
              <a:avLst/>
            </a:prstGeom>
            <a:solidFill>
              <a:srgbClr val="0F02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D274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89" name="Rectangle: Rounded Corners 88">
              <a:extLst>
                <a:ext uri="{FF2B5EF4-FFF2-40B4-BE49-F238E27FC236}">
                  <a16:creationId xmlns:a16="http://schemas.microsoft.com/office/drawing/2014/main" id="{DB348BFC-2020-46CC-928B-EC397A77C572}"/>
                </a:ext>
              </a:extLst>
            </p:cNvPr>
            <p:cNvSpPr/>
            <p:nvPr/>
          </p:nvSpPr>
          <p:spPr>
            <a:xfrm>
              <a:off x="6842708" y="2320819"/>
              <a:ext cx="738423" cy="491979"/>
            </a:xfrm>
            <a:prstGeom prst="roundRect">
              <a:avLst/>
            </a:prstGeom>
            <a:solidFill>
              <a:srgbClr val="0F02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D274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3F303AF2-3299-8444-A806-9AFAE4225B8C}"/>
                </a:ext>
              </a:extLst>
            </p:cNvPr>
            <p:cNvSpPr/>
            <p:nvPr/>
          </p:nvSpPr>
          <p:spPr>
            <a:xfrm>
              <a:off x="435401" y="2434752"/>
              <a:ext cx="1167307" cy="30098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Digital Journey</a:t>
              </a:r>
            </a:p>
          </p:txBody>
        </p: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C5372503-C92C-BF4E-A646-1EE959EE0A2D}"/>
                </a:ext>
              </a:extLst>
            </p:cNvPr>
            <p:cNvCxnSpPr>
              <a:cxnSpLocks/>
            </p:cNvCxnSpPr>
            <p:nvPr/>
          </p:nvCxnSpPr>
          <p:spPr>
            <a:xfrm>
              <a:off x="1662650" y="2397134"/>
              <a:ext cx="0" cy="364517"/>
            </a:xfrm>
            <a:prstGeom prst="line">
              <a:avLst/>
            </a:prstGeom>
            <a:ln w="50800" cap="rnd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54" name="Picture 1053">
              <a:extLst>
                <a:ext uri="{FF2B5EF4-FFF2-40B4-BE49-F238E27FC236}">
                  <a16:creationId xmlns:a16="http://schemas.microsoft.com/office/drawing/2014/main" id="{8DA341B9-9E00-9143-B06E-FA80F6E5DD6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lum bright="70000" contrast="-70000"/>
            </a:blip>
            <a:stretch>
              <a:fillRect/>
            </a:stretch>
          </p:blipFill>
          <p:spPr>
            <a:xfrm>
              <a:off x="3112482" y="2403805"/>
              <a:ext cx="391444" cy="34928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56" name="Picture 1055">
              <a:extLst>
                <a:ext uri="{FF2B5EF4-FFF2-40B4-BE49-F238E27FC236}">
                  <a16:creationId xmlns:a16="http://schemas.microsoft.com/office/drawing/2014/main" id="{016EA30F-2E70-0E40-8996-217D00D8D2E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lum bright="70000" contrast="-70000"/>
            </a:blip>
            <a:stretch>
              <a:fillRect/>
            </a:stretch>
          </p:blipFill>
          <p:spPr>
            <a:xfrm>
              <a:off x="2033488" y="2378676"/>
              <a:ext cx="228313" cy="399547"/>
            </a:xfrm>
            <a:prstGeom prst="rect">
              <a:avLst/>
            </a:prstGeom>
            <a:noFill/>
          </p:spPr>
        </p:pic>
        <p:grpSp>
          <p:nvGrpSpPr>
            <p:cNvPr id="1058" name="Group 1057">
              <a:extLst>
                <a:ext uri="{FF2B5EF4-FFF2-40B4-BE49-F238E27FC236}">
                  <a16:creationId xmlns:a16="http://schemas.microsoft.com/office/drawing/2014/main" id="{13FADE99-5CFF-A143-8700-0A83526B745C}"/>
                </a:ext>
              </a:extLst>
            </p:cNvPr>
            <p:cNvGrpSpPr/>
            <p:nvPr/>
          </p:nvGrpSpPr>
          <p:grpSpPr>
            <a:xfrm>
              <a:off x="4294187" y="2363397"/>
              <a:ext cx="466794" cy="430105"/>
              <a:chOff x="6395870" y="3348376"/>
              <a:chExt cx="622392" cy="573473"/>
            </a:xfrm>
          </p:grpSpPr>
          <p:pic>
            <p:nvPicPr>
              <p:cNvPr id="1057" name="Picture 1056">
                <a:extLst>
                  <a:ext uri="{FF2B5EF4-FFF2-40B4-BE49-F238E27FC236}">
                    <a16:creationId xmlns:a16="http://schemas.microsoft.com/office/drawing/2014/main" id="{030B3E48-0701-8A4F-83B1-FE6AC49BB0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lum bright="70000" contrast="-70000"/>
              </a:blip>
              <a:stretch>
                <a:fillRect/>
              </a:stretch>
            </p:blipFill>
            <p:spPr>
              <a:xfrm>
                <a:off x="6402926" y="3348376"/>
                <a:ext cx="521925" cy="573473"/>
              </a:xfrm>
              <a:prstGeom prst="rect">
                <a:avLst/>
              </a:prstGeom>
              <a:noFill/>
            </p:spPr>
          </p:pic>
          <p:sp>
            <p:nvSpPr>
              <p:cNvPr id="265" name="TextBox 264">
                <a:extLst>
                  <a:ext uri="{FF2B5EF4-FFF2-40B4-BE49-F238E27FC236}">
                    <a16:creationId xmlns:a16="http://schemas.microsoft.com/office/drawing/2014/main" id="{A434ECF0-9021-1846-B528-47D48347EA13}"/>
                  </a:ext>
                </a:extLst>
              </p:cNvPr>
              <p:cNvSpPr txBox="1"/>
              <p:nvPr/>
            </p:nvSpPr>
            <p:spPr>
              <a:xfrm>
                <a:off x="6395870" y="3475701"/>
                <a:ext cx="622392" cy="30777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Medium" panose="020B0503020201020303" pitchFamily="34" charset="0"/>
                    <a:cs typeface="CiscoSansTT Medium" panose="020B0503020201020303" pitchFamily="34" charset="0"/>
                    <a:sym typeface="Arial"/>
                  </a:rPr>
                  <a:t>SaaS</a:t>
                </a:r>
              </a:p>
            </p:txBody>
          </p:sp>
        </p:grpSp>
        <p:grpSp>
          <p:nvGrpSpPr>
            <p:cNvPr id="1062" name="Group 1061">
              <a:extLst>
                <a:ext uri="{FF2B5EF4-FFF2-40B4-BE49-F238E27FC236}">
                  <a16:creationId xmlns:a16="http://schemas.microsoft.com/office/drawing/2014/main" id="{09AE7D44-4861-5E4C-B6D1-4EE23B09961D}"/>
                </a:ext>
              </a:extLst>
            </p:cNvPr>
            <p:cNvGrpSpPr/>
            <p:nvPr/>
          </p:nvGrpSpPr>
          <p:grpSpPr>
            <a:xfrm>
              <a:off x="6859858" y="2371691"/>
              <a:ext cx="669781" cy="413516"/>
              <a:chOff x="9324892" y="3246698"/>
              <a:chExt cx="1022374" cy="631202"/>
            </a:xfrm>
          </p:grpSpPr>
          <p:pic>
            <p:nvPicPr>
              <p:cNvPr id="1060" name="Picture 1059">
                <a:extLst>
                  <a:ext uri="{FF2B5EF4-FFF2-40B4-BE49-F238E27FC236}">
                    <a16:creationId xmlns:a16="http://schemas.microsoft.com/office/drawing/2014/main" id="{A7A007D1-DE62-D544-A33E-123741366A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lum bright="70000" contrast="-70000"/>
              </a:blip>
              <a:stretch>
                <a:fillRect/>
              </a:stretch>
            </p:blipFill>
            <p:spPr>
              <a:xfrm>
                <a:off x="9778559" y="3246698"/>
                <a:ext cx="568707" cy="631202"/>
              </a:xfrm>
              <a:prstGeom prst="rect">
                <a:avLst/>
              </a:prstGeom>
              <a:noFill/>
            </p:spPr>
          </p:pic>
          <p:pic>
            <p:nvPicPr>
              <p:cNvPr id="1061" name="Picture 1060">
                <a:extLst>
                  <a:ext uri="{FF2B5EF4-FFF2-40B4-BE49-F238E27FC236}">
                    <a16:creationId xmlns:a16="http://schemas.microsoft.com/office/drawing/2014/main" id="{D50D98FD-8FCE-7840-BE9E-146F26968C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lum bright="70000" contrast="-70000"/>
              </a:blip>
              <a:stretch>
                <a:fillRect/>
              </a:stretch>
            </p:blipFill>
            <p:spPr>
              <a:xfrm>
                <a:off x="9324892" y="3347615"/>
                <a:ext cx="446068" cy="430324"/>
              </a:xfrm>
              <a:prstGeom prst="rect">
                <a:avLst/>
              </a:prstGeom>
              <a:noFill/>
            </p:spPr>
          </p:pic>
        </p:grpSp>
        <p:pic>
          <p:nvPicPr>
            <p:cNvPr id="1063" name="Picture 1062">
              <a:extLst>
                <a:ext uri="{FF2B5EF4-FFF2-40B4-BE49-F238E27FC236}">
                  <a16:creationId xmlns:a16="http://schemas.microsoft.com/office/drawing/2014/main" id="{1EF1FF6E-3AB9-C147-9FA3-B971A28CF0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lum bright="70000" contrast="-70000"/>
            </a:blip>
            <a:stretch>
              <a:fillRect/>
            </a:stretch>
          </p:blipFill>
          <p:spPr>
            <a:xfrm>
              <a:off x="5525504" y="2417078"/>
              <a:ext cx="479505" cy="322744"/>
            </a:xfrm>
            <a:prstGeom prst="rect">
              <a:avLst/>
            </a:prstGeom>
            <a:noFill/>
          </p:spPr>
        </p:pic>
        <p:sp>
          <p:nvSpPr>
            <p:cNvPr id="274" name="TextBox 273">
              <a:extLst>
                <a:ext uri="{FF2B5EF4-FFF2-40B4-BE49-F238E27FC236}">
                  <a16:creationId xmlns:a16="http://schemas.microsoft.com/office/drawing/2014/main" id="{70775BAC-706A-D340-92EE-C13C21CE502A}"/>
                </a:ext>
              </a:extLst>
            </p:cNvPr>
            <p:cNvSpPr txBox="1"/>
            <p:nvPr/>
          </p:nvSpPr>
          <p:spPr>
            <a:xfrm>
              <a:off x="1770374" y="2856329"/>
              <a:ext cx="894084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Mobile App </a:t>
              </a:r>
            </a:p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front-end</a:t>
              </a:r>
            </a:p>
          </p:txBody>
        </p:sp>
        <p:sp>
          <p:nvSpPr>
            <p:cNvPr id="275" name="TextBox 274">
              <a:extLst>
                <a:ext uri="{FF2B5EF4-FFF2-40B4-BE49-F238E27FC236}">
                  <a16:creationId xmlns:a16="http://schemas.microsoft.com/office/drawing/2014/main" id="{6A7289F8-0368-7749-84C9-361B5E9DCB15}"/>
                </a:ext>
              </a:extLst>
            </p:cNvPr>
            <p:cNvSpPr txBox="1"/>
            <p:nvPr/>
          </p:nvSpPr>
          <p:spPr>
            <a:xfrm>
              <a:off x="2728553" y="2856329"/>
              <a:ext cx="1082709" cy="438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Application backend via Cloud (one, many)</a:t>
              </a:r>
            </a:p>
          </p:txBody>
        </p:sp>
        <p:sp>
          <p:nvSpPr>
            <p:cNvPr id="276" name="TextBox 275">
              <a:extLst>
                <a:ext uri="{FF2B5EF4-FFF2-40B4-BE49-F238E27FC236}">
                  <a16:creationId xmlns:a16="http://schemas.microsoft.com/office/drawing/2014/main" id="{BC918284-11E0-7545-952F-8D22ED8CA471}"/>
                </a:ext>
              </a:extLst>
            </p:cNvPr>
            <p:cNvSpPr txBox="1"/>
            <p:nvPr/>
          </p:nvSpPr>
          <p:spPr>
            <a:xfrm>
              <a:off x="4111797" y="2856331"/>
              <a:ext cx="851521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Customer data via SaaS</a:t>
              </a:r>
            </a:p>
          </p:txBody>
        </p:sp>
        <p:sp>
          <p:nvSpPr>
            <p:cNvPr id="277" name="TextBox 276">
              <a:extLst>
                <a:ext uri="{FF2B5EF4-FFF2-40B4-BE49-F238E27FC236}">
                  <a16:creationId xmlns:a16="http://schemas.microsoft.com/office/drawing/2014/main" id="{C8136C4B-87AC-214C-8937-78A586ADF055}"/>
                </a:ext>
              </a:extLst>
            </p:cNvPr>
            <p:cNvSpPr txBox="1"/>
            <p:nvPr/>
          </p:nvSpPr>
          <p:spPr>
            <a:xfrm>
              <a:off x="5159876" y="2856331"/>
              <a:ext cx="1271406" cy="438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Account consistency via on-prem transaction systems</a:t>
              </a:r>
            </a:p>
          </p:txBody>
        </p:sp>
        <p:sp>
          <p:nvSpPr>
            <p:cNvPr id="278" name="TextBox 277">
              <a:extLst>
                <a:ext uri="{FF2B5EF4-FFF2-40B4-BE49-F238E27FC236}">
                  <a16:creationId xmlns:a16="http://schemas.microsoft.com/office/drawing/2014/main" id="{3F27AE77-3DD7-9E43-88C7-86D5F2F98FE1}"/>
                </a:ext>
              </a:extLst>
            </p:cNvPr>
            <p:cNvSpPr txBox="1"/>
            <p:nvPr/>
          </p:nvSpPr>
          <p:spPr>
            <a:xfrm>
              <a:off x="6311932" y="2856331"/>
              <a:ext cx="856609" cy="438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Branch edge footprint </a:t>
              </a:r>
              <a:b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</a:b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for cash</a:t>
              </a:r>
            </a:p>
          </p:txBody>
        </p:sp>
        <p:sp>
          <p:nvSpPr>
            <p:cNvPr id="279" name="TextBox 278">
              <a:extLst>
                <a:ext uri="{FF2B5EF4-FFF2-40B4-BE49-F238E27FC236}">
                  <a16:creationId xmlns:a16="http://schemas.microsoft.com/office/drawing/2014/main" id="{9609C2DE-740B-4747-83B6-12D2B8AE57B7}"/>
                </a:ext>
              </a:extLst>
            </p:cNvPr>
            <p:cNvSpPr txBox="1"/>
            <p:nvPr/>
          </p:nvSpPr>
          <p:spPr>
            <a:xfrm>
              <a:off x="7162551" y="2856331"/>
              <a:ext cx="982382" cy="438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7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Update cloud back-end and mobile front-end</a:t>
              </a:r>
            </a:p>
          </p:txBody>
        </p:sp>
        <p:pic>
          <p:nvPicPr>
            <p:cNvPr id="84" name="Graphic 83">
              <a:extLst>
                <a:ext uri="{FF2B5EF4-FFF2-40B4-BE49-F238E27FC236}">
                  <a16:creationId xmlns:a16="http://schemas.microsoft.com/office/drawing/2014/main" id="{AC77072C-0E1A-4A31-8E5B-4324FE015FC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068136" y="2246099"/>
              <a:ext cx="685800" cy="685799"/>
            </a:xfrm>
            <a:prstGeom prst="rect">
              <a:avLst/>
            </a:prstGeom>
          </p:spPr>
        </p:pic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7B6CCD5C-CEC1-364A-AF8E-1F909C48A07D}"/>
              </a:ext>
            </a:extLst>
          </p:cNvPr>
          <p:cNvGrpSpPr/>
          <p:nvPr/>
        </p:nvGrpSpPr>
        <p:grpSpPr>
          <a:xfrm>
            <a:off x="437775" y="228723"/>
            <a:ext cx="7002908" cy="809687"/>
            <a:chOff x="437775" y="228723"/>
            <a:chExt cx="7002908" cy="809687"/>
          </a:xfrm>
        </p:grpSpPr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820119F4-E7EF-C246-841E-6F5463756E59}"/>
                </a:ext>
              </a:extLst>
            </p:cNvPr>
            <p:cNvSpPr txBox="1"/>
            <p:nvPr/>
          </p:nvSpPr>
          <p:spPr>
            <a:xfrm>
              <a:off x="437775" y="228723"/>
              <a:ext cx="7002908" cy="44133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defPPr>
              <a:lvl1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2800">
                  <a:solidFill>
                    <a:schemeClr val="dk1"/>
                  </a:solidFill>
                  <a:latin typeface="CiscoSansTT ExtraLight" panose="020B0303020201020303" pitchFamily="34" charset="0"/>
                  <a:cs typeface="CiscoSansTT ExtraLight" panose="020B0303020201020303" pitchFamily="34" charset="0"/>
                </a:defRPr>
              </a:lvl1pPr>
              <a:lvl2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2pPr>
              <a:lvl3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3pPr>
              <a:lvl4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4pPr>
              <a:lvl5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5pPr>
              <a:lvl6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6pPr>
              <a:lvl7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7pPr>
              <a:lvl8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8pPr>
              <a:lvl9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 panose="020B0303020201020303" pitchFamily="34" charset="0"/>
                  <a:sym typeface="Arial"/>
                </a:rPr>
                <a:t>Cloud Workload Protection</a:t>
              </a:r>
              <a:endParaRPr kumimoji="0" lang="en-US" sz="2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cs typeface="CiscoSansTT" panose="020B0503020201020303" pitchFamily="34" charset="0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Arial"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sym typeface="Arial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EA0B64AC-EEC4-D54E-8BAC-0287A8F51B0B}"/>
                </a:ext>
              </a:extLst>
            </p:cNvPr>
            <p:cNvSpPr txBox="1"/>
            <p:nvPr/>
          </p:nvSpPr>
          <p:spPr>
            <a:xfrm>
              <a:off x="437775" y="597071"/>
              <a:ext cx="7002908" cy="44133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00" tIns="45700" rIns="91400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defPPr>
              <a:lvl1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2800">
                  <a:solidFill>
                    <a:schemeClr val="dk1"/>
                  </a:solidFill>
                  <a:latin typeface="CiscoSansTT ExtraLight" panose="020B0303020201020303" pitchFamily="34" charset="0"/>
                  <a:cs typeface="CiscoSansTT ExtraLight" panose="020B0303020201020303" pitchFamily="34" charset="0"/>
                </a:defRPr>
              </a:lvl1pPr>
              <a:lvl2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2pPr>
              <a:lvl3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3pPr>
              <a:lvl4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4pPr>
              <a:lvl5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5pPr>
              <a:lvl6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6pPr>
              <a:lvl7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7pPr>
              <a:lvl8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8pPr>
              <a:lvl9pPr eaLnBrk="1" hangingPunct="1">
                <a:lnSpc>
                  <a:spcPct val="80000"/>
                </a:lnSpc>
                <a:buClr>
                  <a:schemeClr val="dk1"/>
                </a:buClr>
                <a:buSzPts val="1400"/>
                <a:buNone/>
                <a:defRPr sz="3200">
                  <a:solidFill>
                    <a:schemeClr val="dk1"/>
                  </a:solidFill>
                </a:defRPr>
              </a:lvl9pPr>
            </a:lstStyle>
            <a:p>
              <a:pPr marL="8335" marR="0" lvl="0" indent="0" algn="l" defTabSz="914400" rtl="0" eaLnBrk="1" fontAlgn="auto" latinLnBrk="0" hangingPunct="1">
                <a:lnSpc>
                  <a:spcPct val="95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BCEB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Application Overview:</a:t>
              </a:r>
            </a:p>
            <a:p>
              <a:pPr marL="8335" marR="0" lvl="0" indent="0" algn="l" defTabSz="914400" rtl="0" eaLnBrk="1" fontAlgn="auto" latinLnBrk="0" hangingPunct="1">
                <a:lnSpc>
                  <a:spcPct val="95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 panose="020B0303020201020303" pitchFamily="34" charset="0"/>
                  <a:sym typeface="Arial"/>
                </a:rPr>
                <a:t>Contactless cash withdrawal at local ATM</a:t>
              </a:r>
            </a:p>
          </p:txBody>
        </p:sp>
      </p:grpSp>
      <p:sp>
        <p:nvSpPr>
          <p:cNvPr id="94" name="Rounded Rectangle 93">
            <a:extLst>
              <a:ext uri="{FF2B5EF4-FFF2-40B4-BE49-F238E27FC236}">
                <a16:creationId xmlns:a16="http://schemas.microsoft.com/office/drawing/2014/main" id="{DA61ED47-52A2-4A4F-8EF9-A388F21702B9}"/>
              </a:ext>
            </a:extLst>
          </p:cNvPr>
          <p:cNvSpPr/>
          <p:nvPr/>
        </p:nvSpPr>
        <p:spPr>
          <a:xfrm>
            <a:off x="1037813" y="3993555"/>
            <a:ext cx="7765657" cy="529879"/>
          </a:xfrm>
          <a:prstGeom prst="roundRect">
            <a:avLst>
              <a:gd name="adj" fmla="val 3510"/>
            </a:avLst>
          </a:prstGeom>
          <a:gradFill>
            <a:gsLst>
              <a:gs pos="0">
                <a:schemeClr val="bg1">
                  <a:alpha val="2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0" rIns="91416" bIns="45708" rtlCol="0" anchor="t" anchorCtr="0"/>
          <a:lstStyle/>
          <a:p>
            <a:pPr marL="0" marR="0" lvl="0" indent="0" algn="ctr" defTabSz="914126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903AFF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1.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SBOMs   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903AFF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2.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Workloads Vulnerabilities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Mgmt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  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903AFF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3. </a:t>
            </a:r>
            <a:r>
              <a:rPr lang="en-US" dirty="0">
                <a:solidFill>
                  <a:prstClr val="white"/>
                </a:solidFill>
                <a:latin typeface="Avenir Next" panose="020B0503020202020204" pitchFamily="34" charset="0"/>
              </a:rPr>
              <a:t>Admission Policie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+mn-cs"/>
              <a:sym typeface="Arial"/>
            </a:endParaRPr>
          </a:p>
        </p:txBody>
      </p:sp>
      <p:pic>
        <p:nvPicPr>
          <p:cNvPr id="3" name="Graphic 2" descr="Lock with solid fill">
            <a:extLst>
              <a:ext uri="{FF2B5EF4-FFF2-40B4-BE49-F238E27FC236}">
                <a16:creationId xmlns:a16="http://schemas.microsoft.com/office/drawing/2014/main" id="{B8CDEE7D-4CE0-5C48-878B-82E717CB8F4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984708" y="3361019"/>
            <a:ext cx="351075" cy="351075"/>
          </a:xfrm>
          <a:prstGeom prst="rect">
            <a:avLst/>
          </a:prstGeom>
        </p:spPr>
      </p:pic>
      <p:pic>
        <p:nvPicPr>
          <p:cNvPr id="90" name="Graphic 89" descr="Lock with solid fill">
            <a:extLst>
              <a:ext uri="{FF2B5EF4-FFF2-40B4-BE49-F238E27FC236}">
                <a16:creationId xmlns:a16="http://schemas.microsoft.com/office/drawing/2014/main" id="{E7FFFC31-79B7-3349-BACB-7B281B74B27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373771" y="3361019"/>
            <a:ext cx="351075" cy="351075"/>
          </a:xfrm>
          <a:prstGeom prst="rect">
            <a:avLst/>
          </a:prstGeom>
        </p:spPr>
      </p:pic>
      <p:pic>
        <p:nvPicPr>
          <p:cNvPr id="91" name="Graphic 90" descr="Lock with solid fill">
            <a:extLst>
              <a:ext uri="{FF2B5EF4-FFF2-40B4-BE49-F238E27FC236}">
                <a16:creationId xmlns:a16="http://schemas.microsoft.com/office/drawing/2014/main" id="{302B85F0-019E-5046-B6EA-C6108DEA7D9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93335" y="3366040"/>
            <a:ext cx="351075" cy="351075"/>
          </a:xfrm>
          <a:prstGeom prst="rect">
            <a:avLst/>
          </a:prstGeom>
        </p:spPr>
      </p:pic>
      <p:pic>
        <p:nvPicPr>
          <p:cNvPr id="95" name="Graphic 94" descr="Lock with solid fill">
            <a:extLst>
              <a:ext uri="{FF2B5EF4-FFF2-40B4-BE49-F238E27FC236}">
                <a16:creationId xmlns:a16="http://schemas.microsoft.com/office/drawing/2014/main" id="{3410A9B7-C31E-5647-8A65-D6815BB6E50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08217" y="3366945"/>
            <a:ext cx="351075" cy="351075"/>
          </a:xfrm>
          <a:prstGeom prst="rect">
            <a:avLst/>
          </a:prstGeom>
        </p:spPr>
      </p:pic>
      <p:pic>
        <p:nvPicPr>
          <p:cNvPr id="96" name="Graphic 95" descr="Lock with solid fill">
            <a:extLst>
              <a:ext uri="{FF2B5EF4-FFF2-40B4-BE49-F238E27FC236}">
                <a16:creationId xmlns:a16="http://schemas.microsoft.com/office/drawing/2014/main" id="{C6D143D1-19CD-ED45-A8D1-8E3203C5562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653395" y="3366945"/>
            <a:ext cx="351075" cy="351075"/>
          </a:xfrm>
          <a:prstGeom prst="rect">
            <a:avLst/>
          </a:prstGeom>
        </p:spPr>
      </p:pic>
      <p:pic>
        <p:nvPicPr>
          <p:cNvPr id="98" name="Graphic 97" descr="Lock with solid fill">
            <a:extLst>
              <a:ext uri="{FF2B5EF4-FFF2-40B4-BE49-F238E27FC236}">
                <a16:creationId xmlns:a16="http://schemas.microsoft.com/office/drawing/2014/main" id="{4B3536FE-8093-9041-90AB-E0B7BE46FA0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375775" y="3359418"/>
            <a:ext cx="351075" cy="351075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E1F4E0B-5EFE-A5FC-6C30-B4974BA9FE6B}"/>
              </a:ext>
            </a:extLst>
          </p:cNvPr>
          <p:cNvSpPr/>
          <p:nvPr/>
        </p:nvSpPr>
        <p:spPr>
          <a:xfrm>
            <a:off x="1080489" y="4356568"/>
            <a:ext cx="7765657" cy="529879"/>
          </a:xfrm>
          <a:prstGeom prst="roundRect">
            <a:avLst>
              <a:gd name="adj" fmla="val 3510"/>
            </a:avLst>
          </a:prstGeom>
          <a:gradFill>
            <a:gsLst>
              <a:gs pos="0">
                <a:schemeClr val="bg1">
                  <a:alpha val="2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0" rIns="91416" bIns="45708" rtlCol="0" anchor="t" anchorCtr="0"/>
          <a:lstStyle/>
          <a:p>
            <a:pPr marL="0" marR="0" lvl="0" indent="0" algn="ctr" defTabSz="914126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b="1" dirty="0">
                <a:solidFill>
                  <a:srgbClr val="903AFF"/>
                </a:solidFill>
                <a:latin typeface="Avenir Next" panose="020B0503020202020204" pitchFamily="34" charset="0"/>
              </a:rPr>
              <a:t>4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903AFF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.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APIs Security    </a:t>
            </a:r>
            <a:r>
              <a:rPr lang="en-US" b="1" dirty="0">
                <a:solidFill>
                  <a:srgbClr val="903AFF"/>
                </a:solidFill>
                <a:latin typeface="Avenir Next" panose="020B0503020202020204" pitchFamily="34" charset="0"/>
              </a:rPr>
              <a:t>5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903AFF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.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+mn-cs"/>
                <a:sym typeface="Arial"/>
              </a:rPr>
              <a:t>Serverless Integrit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6B00451-7620-B9C0-3936-34DCBD701611}"/>
              </a:ext>
            </a:extLst>
          </p:cNvPr>
          <p:cNvSpPr txBox="1"/>
          <p:nvPr/>
        </p:nvSpPr>
        <p:spPr>
          <a:xfrm>
            <a:off x="80602" y="3523913"/>
            <a:ext cx="1809739" cy="309637"/>
          </a:xfrm>
          <a:prstGeom prst="rect">
            <a:avLst/>
          </a:prstGeom>
        </p:spPr>
        <p:txBody>
          <a:bodyPr wrap="square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r" defTabSz="914400" eaLnBrk="1" fontAlgn="auto" latinLnBrk="0" hangingPunct="1">
              <a:lnSpc>
                <a:spcPct val="150000"/>
              </a:lnSpc>
              <a:buSzTx/>
              <a:buNone/>
              <a:tabLst/>
              <a:defRPr kumimoji="0" sz="1050" b="1" kern="0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r>
              <a:rPr lang="en-FR" dirty="0"/>
              <a:t>Cloud Workload Protection</a:t>
            </a:r>
          </a:p>
        </p:txBody>
      </p:sp>
    </p:spTree>
    <p:extLst>
      <p:ext uri="{BB962C8B-B14F-4D97-AF65-F5344CB8AC3E}">
        <p14:creationId xmlns:p14="http://schemas.microsoft.com/office/powerpoint/2010/main" val="2531793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7C333F-5D2E-5F63-2403-D228CF8B3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FR" dirty="0"/>
              <a:t>Kubernetes Admission Controller Architectu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9D31B2-AA65-E735-EDB6-5832C8B5E7DC}"/>
              </a:ext>
            </a:extLst>
          </p:cNvPr>
          <p:cNvSpPr>
            <a:spLocks noGrp="1"/>
          </p:cNvSpPr>
          <p:nvPr>
            <p:ph type="subTitle" idx="3"/>
          </p:nvPr>
        </p:nvSpPr>
        <p:spPr/>
        <p:txBody>
          <a:bodyPr/>
          <a:lstStyle/>
          <a:p>
            <a:r>
              <a:rPr lang="en-GB" dirty="0"/>
              <a:t>Image and Runtime Security Example</a:t>
            </a:r>
            <a:endParaRPr lang="en-FR" dirty="0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5A9989C2-5D26-9A62-58C7-58D649FC39D3}"/>
              </a:ext>
            </a:extLst>
          </p:cNvPr>
          <p:cNvSpPr/>
          <p:nvPr/>
        </p:nvSpPr>
        <p:spPr>
          <a:xfrm>
            <a:off x="2242592" y="1623274"/>
            <a:ext cx="4918947" cy="2616200"/>
          </a:xfrm>
          <a:prstGeom prst="roundRect">
            <a:avLst>
              <a:gd name="adj" fmla="val 7231"/>
            </a:avLst>
          </a:prstGeom>
          <a:solidFill>
            <a:srgbClr val="0070C0">
              <a:alpha val="36000"/>
            </a:srgbClr>
          </a:solidFill>
          <a:ln w="22225" cap="rnd" cmpd="sng" algn="ctr">
            <a:solidFill>
              <a:srgbClr val="00B0F0"/>
            </a:solidFill>
            <a:prstDash val="sysDot"/>
          </a:ln>
          <a:effectLst/>
        </p:spPr>
        <p:txBody>
          <a:bodyPr lIns="38100" tIns="83820" rIns="38100" bIns="83820" rtlCol="0" anchor="ctr"/>
          <a:lstStyle/>
          <a:p>
            <a:pPr defTabSz="685800">
              <a:buClrTx/>
              <a:defRPr/>
            </a:pPr>
            <a:endParaRPr lang="en-US" sz="800" b="1" kern="1200" dirty="0">
              <a:solidFill>
                <a:schemeClr val="tx1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EA19FC52-07AE-A358-3355-DD5D2311B659}"/>
              </a:ext>
            </a:extLst>
          </p:cNvPr>
          <p:cNvSpPr/>
          <p:nvPr/>
        </p:nvSpPr>
        <p:spPr>
          <a:xfrm>
            <a:off x="3537313" y="1725691"/>
            <a:ext cx="2867788" cy="238575"/>
          </a:xfrm>
          <a:prstGeom prst="roundRect">
            <a:avLst/>
          </a:prstGeom>
          <a:solidFill>
            <a:schemeClr val="tx1"/>
          </a:solidFill>
          <a:ln w="12700" cap="flat" cmpd="sng" algn="ctr">
            <a:solidFill>
              <a:schemeClr val="bg2"/>
            </a:solidFill>
            <a:prstDash val="solid"/>
          </a:ln>
          <a:effectLst/>
        </p:spPr>
        <p:txBody>
          <a:bodyPr lIns="38100" tIns="83820" rIns="38100" bIns="83820" rtlCol="0" anchor="ctr"/>
          <a:lstStyle/>
          <a:p>
            <a:pPr algn="ctr">
              <a:buClrTx/>
            </a:pPr>
            <a:r>
              <a:rPr lang="en-US" sz="1000" b="1" kern="1200" dirty="0">
                <a:solidFill>
                  <a:schemeClr val="bg1"/>
                </a:solidFill>
                <a:latin typeface="CiscoSansTT ExtraLight" panose="020B0303020201020303" pitchFamily="34" charset="0"/>
                <a:ea typeface="+mn-ea"/>
                <a:cs typeface="CiscoSansTT ExtraLight" panose="020B0303020201020303" pitchFamily="34" charset="0"/>
              </a:rPr>
              <a:t>Kubernetes Control Plan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A428275-E218-26A2-A6BC-08217AECDE44}"/>
              </a:ext>
            </a:extLst>
          </p:cNvPr>
          <p:cNvSpPr/>
          <p:nvPr/>
        </p:nvSpPr>
        <p:spPr>
          <a:xfrm>
            <a:off x="2411925" y="2259301"/>
            <a:ext cx="1614309" cy="1270017"/>
          </a:xfrm>
          <a:prstGeom prst="roundRect">
            <a:avLst>
              <a:gd name="adj" fmla="val 7231"/>
            </a:avLst>
          </a:prstGeom>
          <a:solidFill>
            <a:schemeClr val="bg2">
              <a:alpha val="27843"/>
            </a:schemeClr>
          </a:solidFill>
          <a:ln w="22225" cap="rnd" cmpd="sng" algn="ctr">
            <a:solidFill>
              <a:schemeClr val="bg2">
                <a:alpha val="91000"/>
              </a:schemeClr>
            </a:solidFill>
            <a:prstDash val="sysDot"/>
          </a:ln>
          <a:effectLst/>
        </p:spPr>
        <p:txBody>
          <a:bodyPr lIns="38100" tIns="83820" rIns="38100" bIns="83820" rtlCol="0" anchor="ctr"/>
          <a:lstStyle/>
          <a:p>
            <a:pPr>
              <a:buClrTx/>
            </a:pPr>
            <a:endParaRPr lang="en-US" sz="800" b="1" kern="1200" dirty="0">
              <a:solidFill>
                <a:schemeClr val="tx1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4CDFC584-1051-C055-D662-144AC4228506}"/>
              </a:ext>
            </a:extLst>
          </p:cNvPr>
          <p:cNvSpPr/>
          <p:nvPr/>
        </p:nvSpPr>
        <p:spPr>
          <a:xfrm>
            <a:off x="5942520" y="2383669"/>
            <a:ext cx="878490" cy="1690174"/>
          </a:xfrm>
          <a:prstGeom prst="roundRect">
            <a:avLst>
              <a:gd name="adj" fmla="val 7231"/>
            </a:avLst>
          </a:prstGeom>
          <a:solidFill>
            <a:schemeClr val="accent2">
              <a:alpha val="27843"/>
            </a:schemeClr>
          </a:solidFill>
          <a:ln w="22225" cap="rnd" cmpd="sng" algn="ctr">
            <a:solidFill>
              <a:schemeClr val="accent2">
                <a:alpha val="91000"/>
              </a:schemeClr>
            </a:solidFill>
            <a:prstDash val="sysDot"/>
          </a:ln>
          <a:effectLst/>
        </p:spPr>
        <p:txBody>
          <a:bodyPr lIns="38100" tIns="83820" rIns="38100" bIns="83820" rtlCol="0" anchor="ctr"/>
          <a:lstStyle/>
          <a:p>
            <a:pPr>
              <a:buClrTx/>
            </a:pPr>
            <a:endParaRPr lang="en-US" sz="800" b="1" kern="1200" dirty="0">
              <a:solidFill>
                <a:schemeClr val="tx1"/>
              </a:solidFill>
              <a:latin typeface="CiscoSansTT ExtraLight"/>
              <a:ea typeface="+mn-ea"/>
              <a:cs typeface="+mn-cs"/>
            </a:endParaRPr>
          </a:p>
        </p:txBody>
      </p:sp>
      <p:pic>
        <p:nvPicPr>
          <p:cNvPr id="26" name="Picture 2">
            <a:extLst>
              <a:ext uri="{FF2B5EF4-FFF2-40B4-BE49-F238E27FC236}">
                <a16:creationId xmlns:a16="http://schemas.microsoft.com/office/drawing/2014/main" id="{9DD0A36F-78D3-BBA7-321A-5C2D710A2F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4671" y="2541502"/>
            <a:ext cx="450850" cy="438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027A29B9-C6D4-B487-46BF-4DCCBF60A919}"/>
              </a:ext>
            </a:extLst>
          </p:cNvPr>
          <p:cNvSpPr txBox="1"/>
          <p:nvPr/>
        </p:nvSpPr>
        <p:spPr>
          <a:xfrm>
            <a:off x="5915824" y="2367349"/>
            <a:ext cx="78739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solidFill>
                  <a:schemeClr val="tx1"/>
                </a:solidFill>
              </a:rPr>
              <a:t>A</a:t>
            </a:r>
            <a:r>
              <a:rPr lang="en-FR" sz="1000" dirty="0">
                <a:solidFill>
                  <a:schemeClr val="tx1"/>
                </a:solidFill>
              </a:rPr>
              <a:t>pp PODs</a:t>
            </a:r>
          </a:p>
        </p:txBody>
      </p:sp>
      <p:pic>
        <p:nvPicPr>
          <p:cNvPr id="28" name="Picture 2">
            <a:extLst>
              <a:ext uri="{FF2B5EF4-FFF2-40B4-BE49-F238E27FC236}">
                <a16:creationId xmlns:a16="http://schemas.microsoft.com/office/drawing/2014/main" id="{B4BB9BA6-8F15-1303-5013-3FACA2FA68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7573" y="2701276"/>
            <a:ext cx="450850" cy="438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>
            <a:extLst>
              <a:ext uri="{FF2B5EF4-FFF2-40B4-BE49-F238E27FC236}">
                <a16:creationId xmlns:a16="http://schemas.microsoft.com/office/drawing/2014/main" id="{09030B8B-6433-C705-9849-39E4AB5FE0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9973" y="2862639"/>
            <a:ext cx="450850" cy="438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0" name="Group 39">
            <a:extLst>
              <a:ext uri="{FF2B5EF4-FFF2-40B4-BE49-F238E27FC236}">
                <a16:creationId xmlns:a16="http://schemas.microsoft.com/office/drawing/2014/main" id="{9469D2AB-569A-4D65-AA87-58506C3B2E18}"/>
              </a:ext>
            </a:extLst>
          </p:cNvPr>
          <p:cNvGrpSpPr/>
          <p:nvPr/>
        </p:nvGrpSpPr>
        <p:grpSpPr>
          <a:xfrm>
            <a:off x="2462010" y="2279391"/>
            <a:ext cx="1438486" cy="1140616"/>
            <a:chOff x="3524228" y="4269752"/>
            <a:chExt cx="1438486" cy="1140616"/>
          </a:xfrm>
        </p:grpSpPr>
        <p:pic>
          <p:nvPicPr>
            <p:cNvPr id="30" name="Picture 2">
              <a:extLst>
                <a:ext uri="{FF2B5EF4-FFF2-40B4-BE49-F238E27FC236}">
                  <a16:creationId xmlns:a16="http://schemas.microsoft.com/office/drawing/2014/main" id="{9CF89A44-A54E-72C7-D914-E4A3E4F27F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24228" y="4635514"/>
              <a:ext cx="450850" cy="438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14BECCF-F451-99EF-89AF-7D015DE6AF73}"/>
                </a:ext>
              </a:extLst>
            </p:cNvPr>
            <p:cNvSpPr txBox="1"/>
            <p:nvPr/>
          </p:nvSpPr>
          <p:spPr>
            <a:xfrm>
              <a:off x="3869145" y="4739792"/>
              <a:ext cx="63831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FR" sz="1000" dirty="0">
                  <a:solidFill>
                    <a:schemeClr val="tx1"/>
                  </a:solidFill>
                </a:rPr>
                <a:t>scanner</a:t>
              </a:r>
            </a:p>
          </p:txBody>
        </p:sp>
        <p:pic>
          <p:nvPicPr>
            <p:cNvPr id="32" name="Picture 2">
              <a:extLst>
                <a:ext uri="{FF2B5EF4-FFF2-40B4-BE49-F238E27FC236}">
                  <a16:creationId xmlns:a16="http://schemas.microsoft.com/office/drawing/2014/main" id="{6BFC4076-D09A-2250-2942-23415463E6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24228" y="4972218"/>
              <a:ext cx="450850" cy="438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C2730CE-37C3-B4BA-772B-66C5EDA37FFF}"/>
                </a:ext>
              </a:extLst>
            </p:cNvPr>
            <p:cNvSpPr txBox="1"/>
            <p:nvPr/>
          </p:nvSpPr>
          <p:spPr>
            <a:xfrm>
              <a:off x="3869145" y="5076496"/>
              <a:ext cx="49725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FR" sz="1000" dirty="0">
                  <a:solidFill>
                    <a:schemeClr val="tx1"/>
                  </a:solidFill>
                </a:rPr>
                <a:t>sbom</a:t>
              </a:r>
            </a:p>
          </p:txBody>
        </p:sp>
        <p:pic>
          <p:nvPicPr>
            <p:cNvPr id="38" name="Picture 2">
              <a:extLst>
                <a:ext uri="{FF2B5EF4-FFF2-40B4-BE49-F238E27FC236}">
                  <a16:creationId xmlns:a16="http://schemas.microsoft.com/office/drawing/2014/main" id="{302934C3-22D3-9F54-5194-05CFBAF201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24228" y="4269752"/>
              <a:ext cx="450850" cy="438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32914F8-D76B-DA7D-A240-FF7E21D7F931}"/>
                </a:ext>
              </a:extLst>
            </p:cNvPr>
            <p:cNvSpPr txBox="1"/>
            <p:nvPr/>
          </p:nvSpPr>
          <p:spPr>
            <a:xfrm>
              <a:off x="3869145" y="4374030"/>
              <a:ext cx="109356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solidFill>
                    <a:schemeClr val="tx1"/>
                  </a:solidFill>
                </a:rPr>
                <a:t>admin controller</a:t>
              </a:r>
              <a:endParaRPr lang="en-FR" sz="10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DABC3C3E-CB7F-BE2A-FBF9-D4BADC430E19}"/>
              </a:ext>
            </a:extLst>
          </p:cNvPr>
          <p:cNvCxnSpPr/>
          <p:nvPr/>
        </p:nvCxnSpPr>
        <p:spPr>
          <a:xfrm flipV="1">
            <a:off x="4787160" y="1971116"/>
            <a:ext cx="0" cy="5342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4" name="Straight Arrow Connector 1023">
            <a:extLst>
              <a:ext uri="{FF2B5EF4-FFF2-40B4-BE49-F238E27FC236}">
                <a16:creationId xmlns:a16="http://schemas.microsoft.com/office/drawing/2014/main" id="{03D28731-B8C5-F7C6-4291-931F47295EC0}"/>
              </a:ext>
            </a:extLst>
          </p:cNvPr>
          <p:cNvCxnSpPr/>
          <p:nvPr/>
        </p:nvCxnSpPr>
        <p:spPr>
          <a:xfrm flipH="1">
            <a:off x="4026234" y="2506779"/>
            <a:ext cx="76777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5" name="TextBox 1024">
            <a:extLst>
              <a:ext uri="{FF2B5EF4-FFF2-40B4-BE49-F238E27FC236}">
                <a16:creationId xmlns:a16="http://schemas.microsoft.com/office/drawing/2014/main" id="{EE6B1907-21AC-8F77-791F-7B1895CC6049}"/>
              </a:ext>
            </a:extLst>
          </p:cNvPr>
          <p:cNvSpPr txBox="1"/>
          <p:nvPr/>
        </p:nvSpPr>
        <p:spPr>
          <a:xfrm>
            <a:off x="4107995" y="2250995"/>
            <a:ext cx="6944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FR" sz="1000" dirty="0">
                <a:solidFill>
                  <a:schemeClr val="tx1"/>
                </a:solidFill>
              </a:rPr>
              <a:t>webhook</a:t>
            </a:r>
          </a:p>
        </p:txBody>
      </p:sp>
      <p:sp>
        <p:nvSpPr>
          <p:cNvPr id="1027" name="Freeform 140">
            <a:extLst>
              <a:ext uri="{FF2B5EF4-FFF2-40B4-BE49-F238E27FC236}">
                <a16:creationId xmlns:a16="http://schemas.microsoft.com/office/drawing/2014/main" id="{08E07B23-2949-4DA6-55FE-A012B5B90708}"/>
              </a:ext>
            </a:extLst>
          </p:cNvPr>
          <p:cNvSpPr>
            <a:spLocks/>
          </p:cNvSpPr>
          <p:nvPr/>
        </p:nvSpPr>
        <p:spPr bwMode="auto">
          <a:xfrm>
            <a:off x="793757" y="2596454"/>
            <a:ext cx="818673" cy="405537"/>
          </a:xfrm>
          <a:custGeom>
            <a:avLst/>
            <a:gdLst>
              <a:gd name="connsiteX0" fmla="*/ 501088 w 826646"/>
              <a:gd name="connsiteY0" fmla="*/ 0 h 409487"/>
              <a:gd name="connsiteX1" fmla="*/ 602589 w 826646"/>
              <a:gd name="connsiteY1" fmla="*/ 0 h 409487"/>
              <a:gd name="connsiteX2" fmla="*/ 693214 w 826646"/>
              <a:gd name="connsiteY2" fmla="*/ 87137 h 409487"/>
              <a:gd name="connsiteX3" fmla="*/ 687399 w 826646"/>
              <a:gd name="connsiteY3" fmla="*/ 116636 h 409487"/>
              <a:gd name="connsiteX4" fmla="*/ 714831 w 826646"/>
              <a:gd name="connsiteY4" fmla="*/ 122059 h 409487"/>
              <a:gd name="connsiteX5" fmla="*/ 769899 w 826646"/>
              <a:gd name="connsiteY5" fmla="*/ 205792 h 409487"/>
              <a:gd name="connsiteX6" fmla="*/ 763447 w 826646"/>
              <a:gd name="connsiteY6" fmla="*/ 236587 h 409487"/>
              <a:gd name="connsiteX7" fmla="*/ 773111 w 826646"/>
              <a:gd name="connsiteY7" fmla="*/ 238618 h 409487"/>
              <a:gd name="connsiteX8" fmla="*/ 826646 w 826646"/>
              <a:gd name="connsiteY8" fmla="*/ 322350 h 409487"/>
              <a:gd name="connsiteX9" fmla="*/ 739631 w 826646"/>
              <a:gd name="connsiteY9" fmla="*/ 409487 h 409487"/>
              <a:gd name="connsiteX10" fmla="*/ 87015 w 826646"/>
              <a:gd name="connsiteY10" fmla="*/ 409487 h 409487"/>
              <a:gd name="connsiteX11" fmla="*/ 0 w 826646"/>
              <a:gd name="connsiteY11" fmla="*/ 322350 h 409487"/>
              <a:gd name="connsiteX12" fmla="*/ 87015 w 826646"/>
              <a:gd name="connsiteY12" fmla="*/ 231583 h 409487"/>
              <a:gd name="connsiteX13" fmla="*/ 187867 w 826646"/>
              <a:gd name="connsiteY13" fmla="*/ 231583 h 409487"/>
              <a:gd name="connsiteX14" fmla="*/ 182506 w 826646"/>
              <a:gd name="connsiteY14" fmla="*/ 205792 h 409487"/>
              <a:gd name="connsiteX15" fmla="*/ 269527 w 826646"/>
              <a:gd name="connsiteY15" fmla="*/ 115025 h 409487"/>
              <a:gd name="connsiteX16" fmla="*/ 404769 w 826646"/>
              <a:gd name="connsiteY16" fmla="*/ 115025 h 409487"/>
              <a:gd name="connsiteX17" fmla="*/ 419542 w 826646"/>
              <a:gd name="connsiteY17" fmla="*/ 115025 h 409487"/>
              <a:gd name="connsiteX18" fmla="*/ 414088 w 826646"/>
              <a:gd name="connsiteY18" fmla="*/ 87137 h 409487"/>
              <a:gd name="connsiteX19" fmla="*/ 501088 w 826646"/>
              <a:gd name="connsiteY19" fmla="*/ 0 h 409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826646" h="409487">
                <a:moveTo>
                  <a:pt x="501088" y="0"/>
                </a:moveTo>
                <a:cubicBezTo>
                  <a:pt x="602589" y="0"/>
                  <a:pt x="602589" y="0"/>
                  <a:pt x="602589" y="0"/>
                </a:cubicBezTo>
                <a:cubicBezTo>
                  <a:pt x="653339" y="0"/>
                  <a:pt x="693214" y="39938"/>
                  <a:pt x="693214" y="87137"/>
                </a:cubicBezTo>
                <a:lnTo>
                  <a:pt x="687399" y="116636"/>
                </a:lnTo>
                <a:lnTo>
                  <a:pt x="714831" y="122059"/>
                </a:lnTo>
                <a:cubicBezTo>
                  <a:pt x="747464" y="135675"/>
                  <a:pt x="769899" y="167670"/>
                  <a:pt x="769899" y="205792"/>
                </a:cubicBezTo>
                <a:lnTo>
                  <a:pt x="763447" y="236587"/>
                </a:lnTo>
                <a:lnTo>
                  <a:pt x="773111" y="238618"/>
                </a:lnTo>
                <a:cubicBezTo>
                  <a:pt x="804212" y="252233"/>
                  <a:pt x="826646" y="284228"/>
                  <a:pt x="826646" y="322350"/>
                </a:cubicBezTo>
                <a:cubicBezTo>
                  <a:pt x="826646" y="369550"/>
                  <a:pt x="786764" y="409487"/>
                  <a:pt x="739631" y="409487"/>
                </a:cubicBezTo>
                <a:cubicBezTo>
                  <a:pt x="87015" y="409487"/>
                  <a:pt x="87015" y="409487"/>
                  <a:pt x="87015" y="409487"/>
                </a:cubicBezTo>
                <a:cubicBezTo>
                  <a:pt x="39882" y="409487"/>
                  <a:pt x="0" y="369550"/>
                  <a:pt x="0" y="322350"/>
                </a:cubicBezTo>
                <a:cubicBezTo>
                  <a:pt x="0" y="271521"/>
                  <a:pt x="39882" y="231583"/>
                  <a:pt x="87015" y="231583"/>
                </a:cubicBezTo>
                <a:lnTo>
                  <a:pt x="187867" y="231583"/>
                </a:lnTo>
                <a:lnTo>
                  <a:pt x="182506" y="205792"/>
                </a:lnTo>
                <a:cubicBezTo>
                  <a:pt x="182506" y="154963"/>
                  <a:pt x="222391" y="115025"/>
                  <a:pt x="269527" y="115025"/>
                </a:cubicBezTo>
                <a:cubicBezTo>
                  <a:pt x="320743" y="115025"/>
                  <a:pt x="365557" y="115025"/>
                  <a:pt x="404769" y="115025"/>
                </a:cubicBezTo>
                <a:lnTo>
                  <a:pt x="419542" y="115025"/>
                </a:lnTo>
                <a:lnTo>
                  <a:pt x="414088" y="87137"/>
                </a:lnTo>
                <a:cubicBezTo>
                  <a:pt x="414088" y="39938"/>
                  <a:pt x="453963" y="0"/>
                  <a:pt x="50108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6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CiscoSansTT" panose="020B0503020201020303" pitchFamily="34" charset="0"/>
              <a:sym typeface="Arial"/>
            </a:endParaRPr>
          </a:p>
          <a:p>
            <a:pPr marL="0" marR="0" lvl="0" indent="0" algn="l" defTabSz="456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dirty="0">
                <a:solidFill>
                  <a:srgbClr val="002060"/>
                </a:solidFill>
                <a:latin typeface="Avenir Next" panose="020B0503020202020204" pitchFamily="34" charset="0"/>
                <a:ea typeface="+mn-ea"/>
                <a:cs typeface="CiscoSansTT" panose="020B0503020201020303" pitchFamily="34" charset="0"/>
              </a:rPr>
              <a:t>  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venir Next" panose="020B0503020202020204" pitchFamily="34" charset="0"/>
                <a:ea typeface="+mn-ea"/>
                <a:cs typeface="CiscoSansTT" panose="020B0503020201020303" pitchFamily="34" charset="0"/>
                <a:sym typeface="Arial"/>
              </a:rPr>
              <a:t>CVEs DB</a:t>
            </a:r>
          </a:p>
        </p:txBody>
      </p:sp>
      <p:cxnSp>
        <p:nvCxnSpPr>
          <p:cNvPr id="1028" name="Straight Arrow Connector 1027">
            <a:extLst>
              <a:ext uri="{FF2B5EF4-FFF2-40B4-BE49-F238E27FC236}">
                <a16:creationId xmlns:a16="http://schemas.microsoft.com/office/drawing/2014/main" id="{DC62ADBC-B008-8B10-F8F2-69B274CBF6F2}"/>
              </a:ext>
            </a:extLst>
          </p:cNvPr>
          <p:cNvCxnSpPr/>
          <p:nvPr/>
        </p:nvCxnSpPr>
        <p:spPr>
          <a:xfrm flipH="1">
            <a:off x="1694234" y="2872541"/>
            <a:ext cx="767776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9" name="Picture 2">
            <a:extLst>
              <a:ext uri="{FF2B5EF4-FFF2-40B4-BE49-F238E27FC236}">
                <a16:creationId xmlns:a16="http://schemas.microsoft.com/office/drawing/2014/main" id="{660D8DF8-D354-496D-5DE5-1C532CCC2C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0331" y="3330131"/>
            <a:ext cx="450850" cy="438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0" name="Freeform 140">
            <a:extLst>
              <a:ext uri="{FF2B5EF4-FFF2-40B4-BE49-F238E27FC236}">
                <a16:creationId xmlns:a16="http://schemas.microsoft.com/office/drawing/2014/main" id="{4B2D7550-6E90-EFD2-C49F-67A5374815B3}"/>
              </a:ext>
            </a:extLst>
          </p:cNvPr>
          <p:cNvSpPr>
            <a:spLocks/>
          </p:cNvSpPr>
          <p:nvPr/>
        </p:nvSpPr>
        <p:spPr bwMode="auto">
          <a:xfrm>
            <a:off x="7596670" y="3331695"/>
            <a:ext cx="818673" cy="405537"/>
          </a:xfrm>
          <a:custGeom>
            <a:avLst/>
            <a:gdLst>
              <a:gd name="connsiteX0" fmla="*/ 501088 w 826646"/>
              <a:gd name="connsiteY0" fmla="*/ 0 h 409487"/>
              <a:gd name="connsiteX1" fmla="*/ 602589 w 826646"/>
              <a:gd name="connsiteY1" fmla="*/ 0 h 409487"/>
              <a:gd name="connsiteX2" fmla="*/ 693214 w 826646"/>
              <a:gd name="connsiteY2" fmla="*/ 87137 h 409487"/>
              <a:gd name="connsiteX3" fmla="*/ 687399 w 826646"/>
              <a:gd name="connsiteY3" fmla="*/ 116636 h 409487"/>
              <a:gd name="connsiteX4" fmla="*/ 714831 w 826646"/>
              <a:gd name="connsiteY4" fmla="*/ 122059 h 409487"/>
              <a:gd name="connsiteX5" fmla="*/ 769899 w 826646"/>
              <a:gd name="connsiteY5" fmla="*/ 205792 h 409487"/>
              <a:gd name="connsiteX6" fmla="*/ 763447 w 826646"/>
              <a:gd name="connsiteY6" fmla="*/ 236587 h 409487"/>
              <a:gd name="connsiteX7" fmla="*/ 773111 w 826646"/>
              <a:gd name="connsiteY7" fmla="*/ 238618 h 409487"/>
              <a:gd name="connsiteX8" fmla="*/ 826646 w 826646"/>
              <a:gd name="connsiteY8" fmla="*/ 322350 h 409487"/>
              <a:gd name="connsiteX9" fmla="*/ 739631 w 826646"/>
              <a:gd name="connsiteY9" fmla="*/ 409487 h 409487"/>
              <a:gd name="connsiteX10" fmla="*/ 87015 w 826646"/>
              <a:gd name="connsiteY10" fmla="*/ 409487 h 409487"/>
              <a:gd name="connsiteX11" fmla="*/ 0 w 826646"/>
              <a:gd name="connsiteY11" fmla="*/ 322350 h 409487"/>
              <a:gd name="connsiteX12" fmla="*/ 87015 w 826646"/>
              <a:gd name="connsiteY12" fmla="*/ 231583 h 409487"/>
              <a:gd name="connsiteX13" fmla="*/ 187867 w 826646"/>
              <a:gd name="connsiteY13" fmla="*/ 231583 h 409487"/>
              <a:gd name="connsiteX14" fmla="*/ 182506 w 826646"/>
              <a:gd name="connsiteY14" fmla="*/ 205792 h 409487"/>
              <a:gd name="connsiteX15" fmla="*/ 269527 w 826646"/>
              <a:gd name="connsiteY15" fmla="*/ 115025 h 409487"/>
              <a:gd name="connsiteX16" fmla="*/ 404769 w 826646"/>
              <a:gd name="connsiteY16" fmla="*/ 115025 h 409487"/>
              <a:gd name="connsiteX17" fmla="*/ 419542 w 826646"/>
              <a:gd name="connsiteY17" fmla="*/ 115025 h 409487"/>
              <a:gd name="connsiteX18" fmla="*/ 414088 w 826646"/>
              <a:gd name="connsiteY18" fmla="*/ 87137 h 409487"/>
              <a:gd name="connsiteX19" fmla="*/ 501088 w 826646"/>
              <a:gd name="connsiteY19" fmla="*/ 0 h 409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826646" h="409487">
                <a:moveTo>
                  <a:pt x="501088" y="0"/>
                </a:moveTo>
                <a:cubicBezTo>
                  <a:pt x="602589" y="0"/>
                  <a:pt x="602589" y="0"/>
                  <a:pt x="602589" y="0"/>
                </a:cubicBezTo>
                <a:cubicBezTo>
                  <a:pt x="653339" y="0"/>
                  <a:pt x="693214" y="39938"/>
                  <a:pt x="693214" y="87137"/>
                </a:cubicBezTo>
                <a:lnTo>
                  <a:pt x="687399" y="116636"/>
                </a:lnTo>
                <a:lnTo>
                  <a:pt x="714831" y="122059"/>
                </a:lnTo>
                <a:cubicBezTo>
                  <a:pt x="747464" y="135675"/>
                  <a:pt x="769899" y="167670"/>
                  <a:pt x="769899" y="205792"/>
                </a:cubicBezTo>
                <a:lnTo>
                  <a:pt x="763447" y="236587"/>
                </a:lnTo>
                <a:lnTo>
                  <a:pt x="773111" y="238618"/>
                </a:lnTo>
                <a:cubicBezTo>
                  <a:pt x="804212" y="252233"/>
                  <a:pt x="826646" y="284228"/>
                  <a:pt x="826646" y="322350"/>
                </a:cubicBezTo>
                <a:cubicBezTo>
                  <a:pt x="826646" y="369550"/>
                  <a:pt x="786764" y="409487"/>
                  <a:pt x="739631" y="409487"/>
                </a:cubicBezTo>
                <a:cubicBezTo>
                  <a:pt x="87015" y="409487"/>
                  <a:pt x="87015" y="409487"/>
                  <a:pt x="87015" y="409487"/>
                </a:cubicBezTo>
                <a:cubicBezTo>
                  <a:pt x="39882" y="409487"/>
                  <a:pt x="0" y="369550"/>
                  <a:pt x="0" y="322350"/>
                </a:cubicBezTo>
                <a:cubicBezTo>
                  <a:pt x="0" y="271521"/>
                  <a:pt x="39882" y="231583"/>
                  <a:pt x="87015" y="231583"/>
                </a:cubicBezTo>
                <a:lnTo>
                  <a:pt x="187867" y="231583"/>
                </a:lnTo>
                <a:lnTo>
                  <a:pt x="182506" y="205792"/>
                </a:lnTo>
                <a:cubicBezTo>
                  <a:pt x="182506" y="154963"/>
                  <a:pt x="222391" y="115025"/>
                  <a:pt x="269527" y="115025"/>
                </a:cubicBezTo>
                <a:cubicBezTo>
                  <a:pt x="320743" y="115025"/>
                  <a:pt x="365557" y="115025"/>
                  <a:pt x="404769" y="115025"/>
                </a:cubicBezTo>
                <a:lnTo>
                  <a:pt x="419542" y="115025"/>
                </a:lnTo>
                <a:lnTo>
                  <a:pt x="414088" y="87137"/>
                </a:lnTo>
                <a:cubicBezTo>
                  <a:pt x="414088" y="39938"/>
                  <a:pt x="453963" y="0"/>
                  <a:pt x="50108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6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CiscoSansTT" panose="020B0503020201020303" pitchFamily="34" charset="0"/>
              <a:sym typeface="Arial"/>
            </a:endParaRPr>
          </a:p>
          <a:p>
            <a:pPr marL="0" marR="0" lvl="0" indent="0" algn="l" defTabSz="456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000" dirty="0">
                <a:solidFill>
                  <a:srgbClr val="002060"/>
                </a:solidFill>
                <a:latin typeface="Avenir Next" panose="020B0503020202020204" pitchFamily="34" charset="0"/>
                <a:ea typeface="+mn-ea"/>
                <a:cs typeface="CiscoSansTT" panose="020B0503020201020303" pitchFamily="34" charset="0"/>
              </a:rPr>
              <a:t>   Registry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CiscoSansTT" panose="020B0503020201020303" pitchFamily="34" charset="0"/>
              <a:sym typeface="Arial"/>
            </a:endParaRPr>
          </a:p>
        </p:txBody>
      </p:sp>
      <p:cxnSp>
        <p:nvCxnSpPr>
          <p:cNvPr id="1031" name="Straight Arrow Connector 1030">
            <a:extLst>
              <a:ext uri="{FF2B5EF4-FFF2-40B4-BE49-F238E27FC236}">
                <a16:creationId xmlns:a16="http://schemas.microsoft.com/office/drawing/2014/main" id="{72FFA0FC-E428-B7B6-5B80-A4E47E488331}"/>
              </a:ext>
            </a:extLst>
          </p:cNvPr>
          <p:cNvCxnSpPr>
            <a:cxnSpLocks/>
          </p:cNvCxnSpPr>
          <p:nvPr/>
        </p:nvCxnSpPr>
        <p:spPr>
          <a:xfrm flipH="1">
            <a:off x="6421181" y="3615109"/>
            <a:ext cx="1124246" cy="0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4" name="TextBox 1033">
            <a:extLst>
              <a:ext uri="{FF2B5EF4-FFF2-40B4-BE49-F238E27FC236}">
                <a16:creationId xmlns:a16="http://schemas.microsoft.com/office/drawing/2014/main" id="{DEAD1B9F-6595-096C-BBBE-D7C797BAEAA6}"/>
              </a:ext>
            </a:extLst>
          </p:cNvPr>
          <p:cNvSpPr txBox="1"/>
          <p:nvPr/>
        </p:nvSpPr>
        <p:spPr>
          <a:xfrm>
            <a:off x="5915824" y="3710051"/>
            <a:ext cx="95090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ephemeral </a:t>
            </a:r>
          </a:p>
          <a:p>
            <a:pPr algn="ctr"/>
            <a:r>
              <a:rPr lang="en-US" sz="1000" dirty="0">
                <a:solidFill>
                  <a:schemeClr val="tx1"/>
                </a:solidFill>
              </a:rPr>
              <a:t>scanner POD</a:t>
            </a:r>
            <a:endParaRPr lang="en-FR" sz="1000" dirty="0">
              <a:solidFill>
                <a:schemeClr val="tx1"/>
              </a:solidFill>
            </a:endParaRPr>
          </a:p>
        </p:txBody>
      </p:sp>
      <p:sp>
        <p:nvSpPr>
          <p:cNvPr id="1035" name="Rounded Rectangle 1034">
            <a:extLst>
              <a:ext uri="{FF2B5EF4-FFF2-40B4-BE49-F238E27FC236}">
                <a16:creationId xmlns:a16="http://schemas.microsoft.com/office/drawing/2014/main" id="{007F5CF3-94D8-0B62-1133-51756D63DDCD}"/>
              </a:ext>
            </a:extLst>
          </p:cNvPr>
          <p:cNvSpPr/>
          <p:nvPr/>
        </p:nvSpPr>
        <p:spPr>
          <a:xfrm>
            <a:off x="4973254" y="2383669"/>
            <a:ext cx="878490" cy="1690174"/>
          </a:xfrm>
          <a:prstGeom prst="roundRect">
            <a:avLst>
              <a:gd name="adj" fmla="val 7231"/>
            </a:avLst>
          </a:prstGeom>
          <a:solidFill>
            <a:schemeClr val="accent5">
              <a:alpha val="27843"/>
            </a:schemeClr>
          </a:solidFill>
          <a:ln w="22225" cap="rnd" cmpd="sng" algn="ctr">
            <a:solidFill>
              <a:schemeClr val="accent5">
                <a:alpha val="91000"/>
              </a:schemeClr>
            </a:solidFill>
            <a:prstDash val="sysDot"/>
          </a:ln>
          <a:effectLst/>
        </p:spPr>
        <p:txBody>
          <a:bodyPr lIns="38100" tIns="83820" rIns="38100" bIns="83820" rtlCol="0" anchor="ctr"/>
          <a:lstStyle/>
          <a:p>
            <a:pPr>
              <a:buClrTx/>
            </a:pPr>
            <a:endParaRPr lang="en-US" sz="800" b="1" kern="1200" dirty="0">
              <a:solidFill>
                <a:schemeClr val="tx1"/>
              </a:solidFill>
              <a:latin typeface="CiscoSansTT ExtraLight"/>
              <a:ea typeface="+mn-ea"/>
              <a:cs typeface="+mn-cs"/>
            </a:endParaRPr>
          </a:p>
        </p:txBody>
      </p:sp>
      <p:pic>
        <p:nvPicPr>
          <p:cNvPr id="1036" name="Picture 2">
            <a:extLst>
              <a:ext uri="{FF2B5EF4-FFF2-40B4-BE49-F238E27FC236}">
                <a16:creationId xmlns:a16="http://schemas.microsoft.com/office/drawing/2014/main" id="{2BF2D5F0-2668-7E98-6CA5-3BC9508E3E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5907" y="2548876"/>
            <a:ext cx="450850" cy="438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TextBox 1036">
            <a:extLst>
              <a:ext uri="{FF2B5EF4-FFF2-40B4-BE49-F238E27FC236}">
                <a16:creationId xmlns:a16="http://schemas.microsoft.com/office/drawing/2014/main" id="{788410DC-30D7-33A1-C75A-B8A233A81E0F}"/>
              </a:ext>
            </a:extLst>
          </p:cNvPr>
          <p:cNvSpPr txBox="1"/>
          <p:nvPr/>
        </p:nvSpPr>
        <p:spPr>
          <a:xfrm>
            <a:off x="4946558" y="2367349"/>
            <a:ext cx="78739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solidFill>
                  <a:schemeClr val="tx1"/>
                </a:solidFill>
              </a:rPr>
              <a:t>A</a:t>
            </a:r>
            <a:r>
              <a:rPr lang="en-FR" sz="1000" dirty="0">
                <a:solidFill>
                  <a:schemeClr val="tx1"/>
                </a:solidFill>
              </a:rPr>
              <a:t>pp PODs</a:t>
            </a:r>
          </a:p>
        </p:txBody>
      </p:sp>
      <p:pic>
        <p:nvPicPr>
          <p:cNvPr id="1038" name="Picture 2">
            <a:extLst>
              <a:ext uri="{FF2B5EF4-FFF2-40B4-BE49-F238E27FC236}">
                <a16:creationId xmlns:a16="http://schemas.microsoft.com/office/drawing/2014/main" id="{9815D12F-1373-7019-3A3C-6C55A04480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8307" y="2701276"/>
            <a:ext cx="450850" cy="438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9" name="Picture 2">
            <a:extLst>
              <a:ext uri="{FF2B5EF4-FFF2-40B4-BE49-F238E27FC236}">
                <a16:creationId xmlns:a16="http://schemas.microsoft.com/office/drawing/2014/main" id="{6690892A-50C9-9B72-4F7A-2E3D1D3AC9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0707" y="2862639"/>
            <a:ext cx="450850" cy="438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4">
            <a:extLst>
              <a:ext uri="{FF2B5EF4-FFF2-40B4-BE49-F238E27FC236}">
                <a16:creationId xmlns:a16="http://schemas.microsoft.com/office/drawing/2014/main" id="{97EF68CF-83ED-EA97-63E7-C697910656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1200" y="3926746"/>
            <a:ext cx="711068" cy="69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36803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F8AA61-07CC-9646-B39A-0823DD48D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 go further with Opensource projects	</a:t>
            </a:r>
          </a:p>
        </p:txBody>
      </p:sp>
      <p:sp>
        <p:nvSpPr>
          <p:cNvPr id="14" name="Subtitle 13">
            <a:extLst>
              <a:ext uri="{FF2B5EF4-FFF2-40B4-BE49-F238E27FC236}">
                <a16:creationId xmlns:a16="http://schemas.microsoft.com/office/drawing/2014/main" id="{A741AC07-9D35-A03F-85F4-324B91119A0E}"/>
              </a:ext>
            </a:extLst>
          </p:cNvPr>
          <p:cNvSpPr>
            <a:spLocks noGrp="1"/>
          </p:cNvSpPr>
          <p:nvPr>
            <p:ph type="subTitle" idx="2"/>
          </p:nvPr>
        </p:nvSpPr>
        <p:spPr/>
        <p:txBody>
          <a:bodyPr/>
          <a:lstStyle/>
          <a:p>
            <a:r>
              <a:rPr lang="en-FR" dirty="0"/>
              <a:t>Cloud Native Application Security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AD59F6FA-E08A-12D7-DC45-27A9A04863F4}"/>
              </a:ext>
            </a:extLst>
          </p:cNvPr>
          <p:cNvGrpSpPr/>
          <p:nvPr/>
        </p:nvGrpSpPr>
        <p:grpSpPr>
          <a:xfrm>
            <a:off x="5772991" y="1248509"/>
            <a:ext cx="1143000" cy="3499338"/>
            <a:chOff x="5711180" y="1248509"/>
            <a:chExt cx="1143000" cy="3499338"/>
          </a:xfrm>
        </p:grpSpPr>
        <p:sp>
          <p:nvSpPr>
            <p:cNvPr id="34" name="Rounded Rectangle 33">
              <a:extLst>
                <a:ext uri="{FF2B5EF4-FFF2-40B4-BE49-F238E27FC236}">
                  <a16:creationId xmlns:a16="http://schemas.microsoft.com/office/drawing/2014/main" id="{5E040FEC-649C-1706-2152-5C0120033E91}"/>
                </a:ext>
              </a:extLst>
            </p:cNvPr>
            <p:cNvSpPr/>
            <p:nvPr/>
          </p:nvSpPr>
          <p:spPr>
            <a:xfrm>
              <a:off x="5711180" y="1248509"/>
              <a:ext cx="1143000" cy="3499338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R"/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55626600-B776-FF9A-E4D5-5E15A0B2BDD0}"/>
                </a:ext>
              </a:extLst>
            </p:cNvPr>
            <p:cNvGrpSpPr/>
            <p:nvPr/>
          </p:nvGrpSpPr>
          <p:grpSpPr>
            <a:xfrm>
              <a:off x="5806430" y="2527386"/>
              <a:ext cx="952500" cy="1007275"/>
              <a:chOff x="5515567" y="1198275"/>
              <a:chExt cx="952500" cy="1007275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1D132948-33F4-A71A-A0CD-0719ED6A0F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515567" y="1198275"/>
                <a:ext cx="952500" cy="762000"/>
              </a:xfrm>
              <a:prstGeom prst="rect">
                <a:avLst/>
              </a:prstGeom>
            </p:spPr>
          </p:pic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AC82B443-5650-BE37-CD5F-25586B684233}"/>
                  </a:ext>
                </a:extLst>
              </p:cNvPr>
              <p:cNvSpPr txBox="1"/>
              <p:nvPr/>
            </p:nvSpPr>
            <p:spPr>
              <a:xfrm>
                <a:off x="5614951" y="1959329"/>
                <a:ext cx="753732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FR" sz="1000" dirty="0">
                    <a:solidFill>
                      <a:schemeClr val="tx1"/>
                    </a:solidFill>
                  </a:rPr>
                  <a:t>APIClarity</a:t>
                </a:r>
              </a:p>
            </p:txBody>
          </p:sp>
        </p:grpSp>
        <p:sp>
          <p:nvSpPr>
            <p:cNvPr id="35" name="Rounded Rectangle 34">
              <a:extLst>
                <a:ext uri="{FF2B5EF4-FFF2-40B4-BE49-F238E27FC236}">
                  <a16:creationId xmlns:a16="http://schemas.microsoft.com/office/drawing/2014/main" id="{DF073142-6B17-38EC-7617-E5E7A5B3BD5D}"/>
                </a:ext>
              </a:extLst>
            </p:cNvPr>
            <p:cNvSpPr/>
            <p:nvPr/>
          </p:nvSpPr>
          <p:spPr>
            <a:xfrm>
              <a:off x="5711180" y="1248509"/>
              <a:ext cx="1143000" cy="408720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R" dirty="0">
                  <a:solidFill>
                    <a:schemeClr val="tx1"/>
                  </a:solidFill>
                </a:rPr>
                <a:t>API Securirty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68050DB6-EF2C-EE42-4586-32FD9EC77E1E}"/>
              </a:ext>
            </a:extLst>
          </p:cNvPr>
          <p:cNvGrpSpPr/>
          <p:nvPr/>
        </p:nvGrpSpPr>
        <p:grpSpPr>
          <a:xfrm>
            <a:off x="7061348" y="1248509"/>
            <a:ext cx="1143000" cy="3499338"/>
            <a:chOff x="7061348" y="1248509"/>
            <a:chExt cx="1143000" cy="3499338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FE039B86-350D-94EB-FEBE-28CCAC809856}"/>
                </a:ext>
              </a:extLst>
            </p:cNvPr>
            <p:cNvGrpSpPr/>
            <p:nvPr/>
          </p:nvGrpSpPr>
          <p:grpSpPr>
            <a:xfrm>
              <a:off x="7114117" y="2503208"/>
              <a:ext cx="1037463" cy="1007274"/>
              <a:chOff x="7037202" y="1198275"/>
              <a:chExt cx="1037463" cy="1007274"/>
            </a:xfrm>
          </p:grpSpPr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9CC4DBB9-0A23-BFD5-DD02-7DED30BBC06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052116" y="1198275"/>
                <a:ext cx="952500" cy="762000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1249D270-4185-D06D-08A7-5071E9FEA63E}"/>
                  </a:ext>
                </a:extLst>
              </p:cNvPr>
              <p:cNvSpPr txBox="1"/>
              <p:nvPr/>
            </p:nvSpPr>
            <p:spPr>
              <a:xfrm>
                <a:off x="7037202" y="1959328"/>
                <a:ext cx="1037463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FR" sz="1000" dirty="0">
                    <a:solidFill>
                      <a:schemeClr val="tx1"/>
                    </a:solidFill>
                  </a:rPr>
                  <a:t>FunctionClarity</a:t>
                </a:r>
              </a:p>
            </p:txBody>
          </p:sp>
        </p:grpSp>
        <p:sp>
          <p:nvSpPr>
            <p:cNvPr id="37" name="Rounded Rectangle 36">
              <a:extLst>
                <a:ext uri="{FF2B5EF4-FFF2-40B4-BE49-F238E27FC236}">
                  <a16:creationId xmlns:a16="http://schemas.microsoft.com/office/drawing/2014/main" id="{502A5AAA-A29F-F101-D6A2-329FAAE7B747}"/>
                </a:ext>
              </a:extLst>
            </p:cNvPr>
            <p:cNvSpPr/>
            <p:nvPr/>
          </p:nvSpPr>
          <p:spPr>
            <a:xfrm>
              <a:off x="7061348" y="1248509"/>
              <a:ext cx="1143000" cy="3499338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R"/>
            </a:p>
          </p:txBody>
        </p:sp>
        <p:sp>
          <p:nvSpPr>
            <p:cNvPr id="41" name="Rounded Rectangle 40">
              <a:extLst>
                <a:ext uri="{FF2B5EF4-FFF2-40B4-BE49-F238E27FC236}">
                  <a16:creationId xmlns:a16="http://schemas.microsoft.com/office/drawing/2014/main" id="{1EA4D6D7-7BFF-E596-30B9-CF6F5CF027A2}"/>
                </a:ext>
              </a:extLst>
            </p:cNvPr>
            <p:cNvSpPr/>
            <p:nvPr/>
          </p:nvSpPr>
          <p:spPr>
            <a:xfrm>
              <a:off x="7061348" y="1248509"/>
              <a:ext cx="1143000" cy="408720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R" dirty="0">
                  <a:solidFill>
                    <a:schemeClr val="tx1"/>
                  </a:solidFill>
                </a:rPr>
                <a:t>Serverless Securirty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808C740D-506D-1565-9D62-B3A9E21BD61A}"/>
              </a:ext>
            </a:extLst>
          </p:cNvPr>
          <p:cNvGrpSpPr/>
          <p:nvPr/>
        </p:nvGrpSpPr>
        <p:grpSpPr>
          <a:xfrm>
            <a:off x="4484633" y="1248509"/>
            <a:ext cx="1143000" cy="3499338"/>
            <a:chOff x="4385907" y="1248509"/>
            <a:chExt cx="1143000" cy="3499338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776E9EC7-4B36-2138-3A48-C28D7C0A848D}"/>
                </a:ext>
              </a:extLst>
            </p:cNvPr>
            <p:cNvGrpSpPr/>
            <p:nvPr/>
          </p:nvGrpSpPr>
          <p:grpSpPr>
            <a:xfrm>
              <a:off x="4532632" y="1873890"/>
              <a:ext cx="849551" cy="1048479"/>
              <a:chOff x="4299259" y="1158017"/>
              <a:chExt cx="849551" cy="1048479"/>
            </a:xfrm>
          </p:grpSpPr>
          <p:pic>
            <p:nvPicPr>
              <p:cNvPr id="1032" name="Picture 8" descr="Open Policy Agent | Ecosystem">
                <a:extLst>
                  <a:ext uri="{FF2B5EF4-FFF2-40B4-BE49-F238E27FC236}">
                    <a16:creationId xmlns:a16="http://schemas.microsoft.com/office/drawing/2014/main" id="{BA9CA652-6AB3-B8EE-4F45-1E80A997364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99259" y="1158017"/>
                <a:ext cx="849551" cy="84955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31346959-8075-AB2F-AA85-B20317DB28B7}"/>
                  </a:ext>
                </a:extLst>
              </p:cNvPr>
              <p:cNvSpPr txBox="1"/>
              <p:nvPr/>
            </p:nvSpPr>
            <p:spPr>
              <a:xfrm>
                <a:off x="4494376" y="1960275"/>
                <a:ext cx="45397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FR" sz="1000" dirty="0">
                    <a:solidFill>
                      <a:schemeClr val="tx1"/>
                    </a:solidFill>
                  </a:rPr>
                  <a:t>OPA</a:t>
                </a: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05CA0078-590D-CD19-431A-A03954D1FB54}"/>
                </a:ext>
              </a:extLst>
            </p:cNvPr>
            <p:cNvGrpSpPr/>
            <p:nvPr/>
          </p:nvGrpSpPr>
          <p:grpSpPr>
            <a:xfrm>
              <a:off x="4539773" y="3016537"/>
              <a:ext cx="835269" cy="1081490"/>
              <a:chOff x="4299259" y="2300664"/>
              <a:chExt cx="835269" cy="1081490"/>
            </a:xfrm>
          </p:grpSpPr>
          <p:pic>
            <p:nvPicPr>
              <p:cNvPr id="1034" name="Picture 10" descr="GitHub - kyverno/kyverno: Kubernetes Native Policy Management">
                <a:extLst>
                  <a:ext uri="{FF2B5EF4-FFF2-40B4-BE49-F238E27FC236}">
                    <a16:creationId xmlns:a16="http://schemas.microsoft.com/office/drawing/2014/main" id="{CC968C67-2738-6EEB-0BA7-327094BF405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99259" y="2300664"/>
                <a:ext cx="835269" cy="8352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3C587B2E-ED3D-34A0-49F5-EFD0ABD20B1E}"/>
                  </a:ext>
                </a:extLst>
              </p:cNvPr>
              <p:cNvSpPr txBox="1"/>
              <p:nvPr/>
            </p:nvSpPr>
            <p:spPr>
              <a:xfrm>
                <a:off x="4388797" y="3135933"/>
                <a:ext cx="652743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FR" sz="1000" dirty="0">
                    <a:solidFill>
                      <a:schemeClr val="tx1"/>
                    </a:solidFill>
                  </a:rPr>
                  <a:t>Kyverno</a:t>
                </a:r>
              </a:p>
            </p:txBody>
          </p:sp>
        </p:grpSp>
        <p:sp>
          <p:nvSpPr>
            <p:cNvPr id="42" name="Rounded Rectangle 41">
              <a:extLst>
                <a:ext uri="{FF2B5EF4-FFF2-40B4-BE49-F238E27FC236}">
                  <a16:creationId xmlns:a16="http://schemas.microsoft.com/office/drawing/2014/main" id="{91AC3518-69FF-A77F-880B-F14CB0F51564}"/>
                </a:ext>
              </a:extLst>
            </p:cNvPr>
            <p:cNvSpPr/>
            <p:nvPr/>
          </p:nvSpPr>
          <p:spPr>
            <a:xfrm>
              <a:off x="4385907" y="1248509"/>
              <a:ext cx="1143000" cy="3499338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R"/>
            </a:p>
          </p:txBody>
        </p:sp>
        <p:sp>
          <p:nvSpPr>
            <p:cNvPr id="43" name="Rounded Rectangle 42">
              <a:extLst>
                <a:ext uri="{FF2B5EF4-FFF2-40B4-BE49-F238E27FC236}">
                  <a16:creationId xmlns:a16="http://schemas.microsoft.com/office/drawing/2014/main" id="{DBB903B4-7DFE-5BE1-D734-F7E39A4F84B3}"/>
                </a:ext>
              </a:extLst>
            </p:cNvPr>
            <p:cNvSpPr/>
            <p:nvPr/>
          </p:nvSpPr>
          <p:spPr>
            <a:xfrm>
              <a:off x="4385907" y="1248509"/>
              <a:ext cx="1143000" cy="408720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R" dirty="0">
                  <a:solidFill>
                    <a:schemeClr val="tx1"/>
                  </a:solidFill>
                </a:rPr>
                <a:t>Policy</a:t>
              </a:r>
            </a:p>
            <a:p>
              <a:pPr algn="ctr"/>
              <a:r>
                <a:rPr lang="en-FR" dirty="0">
                  <a:solidFill>
                    <a:schemeClr val="tx1"/>
                  </a:solidFill>
                </a:rPr>
                <a:t>Engine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3635C5AE-A6B2-6524-FDD4-874C60BC95E6}"/>
              </a:ext>
            </a:extLst>
          </p:cNvPr>
          <p:cNvGrpSpPr/>
          <p:nvPr/>
        </p:nvGrpSpPr>
        <p:grpSpPr>
          <a:xfrm>
            <a:off x="3196275" y="1248509"/>
            <a:ext cx="1143000" cy="3499338"/>
            <a:chOff x="3111421" y="1248509"/>
            <a:chExt cx="1143000" cy="3499338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C971C69D-8278-DC42-7F6C-05A36265DF20}"/>
                </a:ext>
              </a:extLst>
            </p:cNvPr>
            <p:cNvGrpSpPr/>
            <p:nvPr/>
          </p:nvGrpSpPr>
          <p:grpSpPr>
            <a:xfrm>
              <a:off x="3281792" y="2019172"/>
              <a:ext cx="802258" cy="1034810"/>
              <a:chOff x="3227039" y="1158017"/>
              <a:chExt cx="802258" cy="1034810"/>
            </a:xfrm>
          </p:grpSpPr>
          <p:pic>
            <p:nvPicPr>
              <p:cNvPr id="1030" name="Picture 6" descr="Home · Sigstore">
                <a:extLst>
                  <a:ext uri="{FF2B5EF4-FFF2-40B4-BE49-F238E27FC236}">
                    <a16:creationId xmlns:a16="http://schemas.microsoft.com/office/drawing/2014/main" id="{541EA442-2BC7-8A4C-D186-987C3FD1AAC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27039" y="1158017"/>
                <a:ext cx="802258" cy="8022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B1E506D8-485A-5C5B-3031-97CF31917FDB}"/>
                  </a:ext>
                </a:extLst>
              </p:cNvPr>
              <p:cNvSpPr txBox="1"/>
              <p:nvPr/>
            </p:nvSpPr>
            <p:spPr>
              <a:xfrm>
                <a:off x="3306728" y="1946606"/>
                <a:ext cx="652743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FR" sz="1000" dirty="0">
                    <a:solidFill>
                      <a:schemeClr val="tx1"/>
                    </a:solidFill>
                  </a:rPr>
                  <a:t>Sigstore</a:t>
                </a: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7C35A32-7342-CF89-A2D1-D0B1B4421281}"/>
                </a:ext>
              </a:extLst>
            </p:cNvPr>
            <p:cNvGrpSpPr/>
            <p:nvPr/>
          </p:nvGrpSpPr>
          <p:grpSpPr>
            <a:xfrm>
              <a:off x="3375782" y="3264707"/>
              <a:ext cx="614278" cy="860499"/>
              <a:chOff x="3321029" y="2521655"/>
              <a:chExt cx="614278" cy="860499"/>
            </a:xfrm>
          </p:grpSpPr>
          <p:pic>
            <p:nvPicPr>
              <p:cNvPr id="1036" name="Picture 12" descr="SLSA • Supply-chain Levels for Software Artifacts">
                <a:extLst>
                  <a:ext uri="{FF2B5EF4-FFF2-40B4-BE49-F238E27FC236}">
                    <a16:creationId xmlns:a16="http://schemas.microsoft.com/office/drawing/2014/main" id="{FD26A2C8-2350-93A4-003F-4F6685BD3BB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21029" y="2521655"/>
                <a:ext cx="614278" cy="6142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C30ECEEC-8FCC-1C83-EBE2-E4AC27AF465A}"/>
                  </a:ext>
                </a:extLst>
              </p:cNvPr>
              <p:cNvSpPr txBox="1"/>
              <p:nvPr/>
            </p:nvSpPr>
            <p:spPr>
              <a:xfrm>
                <a:off x="3376104" y="3135933"/>
                <a:ext cx="510076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FR" sz="1000" dirty="0">
                    <a:solidFill>
                      <a:schemeClr val="tx1"/>
                    </a:solidFill>
                  </a:rPr>
                  <a:t>SLSA</a:t>
                </a:r>
              </a:p>
            </p:txBody>
          </p:sp>
        </p:grpSp>
        <p:sp>
          <p:nvSpPr>
            <p:cNvPr id="44" name="Rounded Rectangle 43">
              <a:extLst>
                <a:ext uri="{FF2B5EF4-FFF2-40B4-BE49-F238E27FC236}">
                  <a16:creationId xmlns:a16="http://schemas.microsoft.com/office/drawing/2014/main" id="{726C8D4C-36D9-A60E-9EB5-79639B471BA5}"/>
                </a:ext>
              </a:extLst>
            </p:cNvPr>
            <p:cNvSpPr/>
            <p:nvPr/>
          </p:nvSpPr>
          <p:spPr>
            <a:xfrm>
              <a:off x="3111421" y="1248509"/>
              <a:ext cx="1143000" cy="3499338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R"/>
            </a:p>
          </p:txBody>
        </p:sp>
        <p:sp>
          <p:nvSpPr>
            <p:cNvPr id="45" name="Rounded Rectangle 44">
              <a:extLst>
                <a:ext uri="{FF2B5EF4-FFF2-40B4-BE49-F238E27FC236}">
                  <a16:creationId xmlns:a16="http://schemas.microsoft.com/office/drawing/2014/main" id="{395D2A1E-4D38-39B2-2E34-22F13B081D9F}"/>
                </a:ext>
              </a:extLst>
            </p:cNvPr>
            <p:cNvSpPr/>
            <p:nvPr/>
          </p:nvSpPr>
          <p:spPr>
            <a:xfrm>
              <a:off x="3111421" y="1248509"/>
              <a:ext cx="1143000" cy="408720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R" dirty="0">
                  <a:solidFill>
                    <a:schemeClr val="tx1"/>
                  </a:solidFill>
                </a:rPr>
                <a:t>Artefacts</a:t>
              </a:r>
            </a:p>
            <a:p>
              <a:pPr algn="ctr"/>
              <a:r>
                <a:rPr lang="en-FR" dirty="0">
                  <a:solidFill>
                    <a:schemeClr val="tx1"/>
                  </a:solidFill>
                </a:rPr>
                <a:t>Integrity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8CD44525-C7E5-4BA4-98CE-EF479FD27CD5}"/>
              </a:ext>
            </a:extLst>
          </p:cNvPr>
          <p:cNvGrpSpPr/>
          <p:nvPr/>
        </p:nvGrpSpPr>
        <p:grpSpPr>
          <a:xfrm>
            <a:off x="1907917" y="1248509"/>
            <a:ext cx="1143000" cy="3499338"/>
            <a:chOff x="1879691" y="1248509"/>
            <a:chExt cx="1143000" cy="3499338"/>
          </a:xfrm>
        </p:grpSpPr>
        <p:pic>
          <p:nvPicPr>
            <p:cNvPr id="1026" name="Picture 2" descr="Grype logo">
              <a:extLst>
                <a:ext uri="{FF2B5EF4-FFF2-40B4-BE49-F238E27FC236}">
                  <a16:creationId xmlns:a16="http://schemas.microsoft.com/office/drawing/2014/main" id="{C2148AAB-CEB5-CE1A-75BA-DE70DCA3D1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26158" y="2735334"/>
              <a:ext cx="650066" cy="983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7C1FEB5D-2FB0-459C-054D-85840EA36D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92628" y="3740686"/>
              <a:ext cx="917126" cy="9623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2EE52117-DACA-9D63-F12F-5DDBD44B2274}"/>
                </a:ext>
              </a:extLst>
            </p:cNvPr>
            <p:cNvGrpSpPr/>
            <p:nvPr/>
          </p:nvGrpSpPr>
          <p:grpSpPr>
            <a:xfrm>
              <a:off x="1974941" y="1740782"/>
              <a:ext cx="952500" cy="971635"/>
              <a:chOff x="2159046" y="1198275"/>
              <a:chExt cx="952500" cy="971635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30EFAC09-FEAD-A067-7493-2517088FE3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2159046" y="1198275"/>
                <a:ext cx="952500" cy="762000"/>
              </a:xfrm>
              <a:prstGeom prst="rect">
                <a:avLst/>
              </a:prstGeom>
            </p:spPr>
          </p:pic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E0F5ACFD-A198-A31F-9DD4-733AB2F7AC23}"/>
                  </a:ext>
                </a:extLst>
              </p:cNvPr>
              <p:cNvSpPr txBox="1"/>
              <p:nvPr/>
            </p:nvSpPr>
            <p:spPr>
              <a:xfrm>
                <a:off x="2219176" y="1923689"/>
                <a:ext cx="845103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FR" sz="1000" dirty="0">
                    <a:solidFill>
                      <a:schemeClr val="tx1"/>
                    </a:solidFill>
                  </a:rPr>
                  <a:t>KubeClarity</a:t>
                </a:r>
              </a:p>
            </p:txBody>
          </p:sp>
        </p:grpSp>
        <p:sp>
          <p:nvSpPr>
            <p:cNvPr id="46" name="Rounded Rectangle 45">
              <a:extLst>
                <a:ext uri="{FF2B5EF4-FFF2-40B4-BE49-F238E27FC236}">
                  <a16:creationId xmlns:a16="http://schemas.microsoft.com/office/drawing/2014/main" id="{15A8DCAD-E2C2-E7E3-4A3A-FB6B75649368}"/>
                </a:ext>
              </a:extLst>
            </p:cNvPr>
            <p:cNvSpPr/>
            <p:nvPr/>
          </p:nvSpPr>
          <p:spPr>
            <a:xfrm>
              <a:off x="1879691" y="1248509"/>
              <a:ext cx="1143000" cy="3499338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R"/>
            </a:p>
          </p:txBody>
        </p:sp>
        <p:sp>
          <p:nvSpPr>
            <p:cNvPr id="47" name="Rounded Rectangle 46">
              <a:extLst>
                <a:ext uri="{FF2B5EF4-FFF2-40B4-BE49-F238E27FC236}">
                  <a16:creationId xmlns:a16="http://schemas.microsoft.com/office/drawing/2014/main" id="{E491A018-2E0D-18BC-786F-973B168D0B8E}"/>
                </a:ext>
              </a:extLst>
            </p:cNvPr>
            <p:cNvSpPr/>
            <p:nvPr/>
          </p:nvSpPr>
          <p:spPr>
            <a:xfrm>
              <a:off x="1879691" y="1248509"/>
              <a:ext cx="1143000" cy="408720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R" dirty="0">
                  <a:solidFill>
                    <a:schemeClr val="tx1"/>
                  </a:solidFill>
                </a:rPr>
                <a:t>Scanner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6F4E04D-4B76-A304-1BCA-CFACB958E91B}"/>
              </a:ext>
            </a:extLst>
          </p:cNvPr>
          <p:cNvGrpSpPr/>
          <p:nvPr/>
        </p:nvGrpSpPr>
        <p:grpSpPr>
          <a:xfrm>
            <a:off x="619559" y="1248509"/>
            <a:ext cx="1143000" cy="3499338"/>
            <a:chOff x="619559" y="1248509"/>
            <a:chExt cx="1143000" cy="3499338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65592264-787D-C006-8C60-85075367159E}"/>
                </a:ext>
              </a:extLst>
            </p:cNvPr>
            <p:cNvGrpSpPr/>
            <p:nvPr/>
          </p:nvGrpSpPr>
          <p:grpSpPr>
            <a:xfrm>
              <a:off x="754093" y="2593874"/>
              <a:ext cx="873933" cy="940926"/>
              <a:chOff x="792740" y="2360433"/>
              <a:chExt cx="873933" cy="940926"/>
            </a:xfrm>
          </p:grpSpPr>
          <p:pic>
            <p:nvPicPr>
              <p:cNvPr id="1038" name="Picture 14" descr="Maven Artifact: org.cyclonedx » cyclonedx-core-java | JarCasting">
                <a:extLst>
                  <a:ext uri="{FF2B5EF4-FFF2-40B4-BE49-F238E27FC236}">
                    <a16:creationId xmlns:a16="http://schemas.microsoft.com/office/drawing/2014/main" id="{13065636-983B-4B98-1C3F-99557337894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0731" y="2360433"/>
                <a:ext cx="825942" cy="8259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A16295C6-510D-95A5-AFD3-2B084A695F92}"/>
                  </a:ext>
                </a:extLst>
              </p:cNvPr>
              <p:cNvSpPr txBox="1"/>
              <p:nvPr/>
            </p:nvSpPr>
            <p:spPr>
              <a:xfrm>
                <a:off x="792740" y="3055138"/>
                <a:ext cx="824265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FR" sz="1000" dirty="0">
                    <a:solidFill>
                      <a:schemeClr val="tx1"/>
                    </a:solidFill>
                  </a:rPr>
                  <a:t>CycloneDX</a:t>
                </a:r>
              </a:p>
            </p:txBody>
          </p:sp>
        </p:grpSp>
        <p:sp>
          <p:nvSpPr>
            <p:cNvPr id="48" name="Rounded Rectangle 47">
              <a:extLst>
                <a:ext uri="{FF2B5EF4-FFF2-40B4-BE49-F238E27FC236}">
                  <a16:creationId xmlns:a16="http://schemas.microsoft.com/office/drawing/2014/main" id="{ABF4D26F-3A4D-CE75-B521-CF379D69397A}"/>
                </a:ext>
              </a:extLst>
            </p:cNvPr>
            <p:cNvSpPr/>
            <p:nvPr/>
          </p:nvSpPr>
          <p:spPr>
            <a:xfrm>
              <a:off x="619559" y="1248509"/>
              <a:ext cx="1143000" cy="3499338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R"/>
            </a:p>
          </p:txBody>
        </p:sp>
        <p:sp>
          <p:nvSpPr>
            <p:cNvPr id="49" name="Rounded Rectangle 48">
              <a:extLst>
                <a:ext uri="{FF2B5EF4-FFF2-40B4-BE49-F238E27FC236}">
                  <a16:creationId xmlns:a16="http://schemas.microsoft.com/office/drawing/2014/main" id="{C6767585-814B-EA85-1238-E4D2F615AE55}"/>
                </a:ext>
              </a:extLst>
            </p:cNvPr>
            <p:cNvSpPr/>
            <p:nvPr/>
          </p:nvSpPr>
          <p:spPr>
            <a:xfrm>
              <a:off x="619559" y="1248509"/>
              <a:ext cx="1143000" cy="408720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R" dirty="0">
                  <a:solidFill>
                    <a:schemeClr val="tx1"/>
                  </a:solidFill>
                </a:rPr>
                <a:t>SBO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491870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VPX 2022">
  <a:themeElements>
    <a:clrScheme name="Custom 51">
      <a:dk1>
        <a:srgbClr val="FFFFFF"/>
      </a:dk1>
      <a:lt1>
        <a:srgbClr val="0D274D"/>
      </a:lt1>
      <a:dk2>
        <a:srgbClr val="00BCEB"/>
      </a:dk2>
      <a:lt2>
        <a:srgbClr val="0D274D"/>
      </a:lt2>
      <a:accent1>
        <a:srgbClr val="00BCEB"/>
      </a:accent1>
      <a:accent2>
        <a:srgbClr val="6EBE4A"/>
      </a:accent2>
      <a:accent3>
        <a:srgbClr val="B4E2F6"/>
      </a:accent3>
      <a:accent4>
        <a:srgbClr val="9E9EA2"/>
      </a:accent4>
      <a:accent5>
        <a:srgbClr val="FBAB18"/>
      </a:accent5>
      <a:accent6>
        <a:srgbClr val="E3241B"/>
      </a:accent6>
      <a:hlink>
        <a:srgbClr val="00BCEB"/>
      </a:hlink>
      <a:folHlink>
        <a:srgbClr val="008CB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VPX_Cisco Style Guide + PPT Template_07" id="{BFD3F1F5-06E7-8641-AFED-DC7664E03DBC}" vid="{D0FE071E-2620-164F-A9C8-45BB467C4D1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EA66143A1493F48BFB7F2FC46AF9193" ma:contentTypeVersion="15" ma:contentTypeDescription="Create a new document." ma:contentTypeScope="" ma:versionID="a1009d1e49c79e1e39605eebcc8f1e31">
  <xsd:schema xmlns:xsd="http://www.w3.org/2001/XMLSchema" xmlns:xs="http://www.w3.org/2001/XMLSchema" xmlns:p="http://schemas.microsoft.com/office/2006/metadata/properties" xmlns:ns2="c000bec2-f5fd-4388-8d48-6bd6df1590d5" xmlns:ns3="8ec1fc76-b4e1-4143-96a5-f7700b898e1c" targetNamespace="http://schemas.microsoft.com/office/2006/metadata/properties" ma:root="true" ma:fieldsID="4c46c92869c9b4782a6900fa59ad5e71" ns2:_="" ns3:_="">
    <xsd:import namespace="c000bec2-f5fd-4388-8d48-6bd6df1590d5"/>
    <xsd:import namespace="8ec1fc76-b4e1-4143-96a5-f7700b898e1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Passwor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00bec2-f5fd-4388-8d48-6bd6df1590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710261dd-85c0-4e16-8580-30375acfae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Password" ma:index="22" nillable="true" ma:displayName="Password" ma:format="Dropdown" ma:internalName="Password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c1fc76-b4e1-4143-96a5-f7700b898e1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9e0b0103-1447-4de9-ae3e-739549c2c8c0}" ma:internalName="TaxCatchAll" ma:showField="CatchAllData" ma:web="8ec1fc76-b4e1-4143-96a5-f7700b898e1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000bec2-f5fd-4388-8d48-6bd6df1590d5">
      <Terms xmlns="http://schemas.microsoft.com/office/infopath/2007/PartnerControls"/>
    </lcf76f155ced4ddcb4097134ff3c332f>
    <TaxCatchAll xmlns="8ec1fc76-b4e1-4143-96a5-f7700b898e1c" xsi:nil="true"/>
    <Password xmlns="c000bec2-f5fd-4388-8d48-6bd6df1590d5" xsi:nil="true"/>
  </documentManagement>
</p:properties>
</file>

<file path=customXml/itemProps1.xml><?xml version="1.0" encoding="utf-8"?>
<ds:datastoreItem xmlns:ds="http://schemas.openxmlformats.org/officeDocument/2006/customXml" ds:itemID="{92A73A22-33AA-4374-90DE-DFCC199DD30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A1E3B77-5278-43D7-99D5-9FDAC40308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000bec2-f5fd-4388-8d48-6bd6df1590d5"/>
    <ds:schemaRef ds:uri="8ec1fc76-b4e1-4143-96a5-f7700b898e1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68FAA14-F1AE-4BF6-AA93-96A46D2FE747}">
  <ds:schemaRefs>
    <ds:schemaRef ds:uri="8ec1fc76-b4e1-4143-96a5-f7700b898e1c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purl.org/dc/dcmitype/"/>
    <ds:schemaRef ds:uri="http://schemas.microsoft.com/office/2006/metadata/properties"/>
    <ds:schemaRef ds:uri="c000bec2-f5fd-4388-8d48-6bd6df1590d5"/>
    <ds:schemaRef ds:uri="http://www.w3.org/XML/1998/namespace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579</TotalTime>
  <Words>418</Words>
  <Application>Microsoft Macintosh PowerPoint</Application>
  <PresentationFormat>On-screen Show (16:9)</PresentationFormat>
  <Paragraphs>128</Paragraphs>
  <Slides>1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Avenir Next</vt:lpstr>
      <vt:lpstr>Calibri</vt:lpstr>
      <vt:lpstr>CiscoSansTT</vt:lpstr>
      <vt:lpstr>CiscoSansTT ExtraLight</vt:lpstr>
      <vt:lpstr>CiscoSansTT Light</vt:lpstr>
      <vt:lpstr>CiscoSansTT Medium</vt:lpstr>
      <vt:lpstr>SVPX 2022</vt:lpstr>
      <vt:lpstr>think-cell Slide</vt:lpstr>
      <vt:lpstr>Cloud Native Application Security</vt:lpstr>
      <vt:lpstr>Application Development is Fundamentally Changing</vt:lpstr>
      <vt:lpstr>Cloud Native Application Platform</vt:lpstr>
      <vt:lpstr>PowerPoint Presentation</vt:lpstr>
      <vt:lpstr>Istio Service Mesh and API Security</vt:lpstr>
      <vt:lpstr>To go further with Opensource projects </vt:lpstr>
      <vt:lpstr>PowerPoint Presentation</vt:lpstr>
      <vt:lpstr>Kubernetes Admission Controller Architecture</vt:lpstr>
      <vt:lpstr>To go further with Opensource projects </vt:lpstr>
      <vt:lpstr>Cloud Security Posture Management </vt:lpstr>
      <vt:lpstr>Conclusions</vt:lpstr>
      <vt:lpstr>Thank You 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ease read</dc:title>
  <dc:creator>Suzanne Fritz Hanson</dc:creator>
  <cp:lastModifiedBy>Patrice Nivaggioli (pnivaggi)</cp:lastModifiedBy>
  <cp:revision>141</cp:revision>
  <cp:lastPrinted>2022-03-18T04:59:42Z</cp:lastPrinted>
  <dcterms:created xsi:type="dcterms:W3CDTF">2022-03-01T03:28:43Z</dcterms:created>
  <dcterms:modified xsi:type="dcterms:W3CDTF">2023-04-13T09:53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EA66143A1493F48BFB7F2FC46AF9193</vt:lpwstr>
  </property>
  <property fmtid="{D5CDD505-2E9C-101B-9397-08002B2CF9AE}" pid="3" name="MediaServiceImageTags">
    <vt:lpwstr/>
  </property>
</Properties>
</file>